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7"/>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4D87C4C6-7EC4-4AA3-85DF-CC9579C60370}">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Lst>
        </p14:section>
        <p14:section name="Brackets By Segment" id="{F777B675-23A8-49A8-8FE7-0CA30DD69944}">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103" d="100"/>
          <a:sy n="103" d="100"/>
        </p:scale>
        <p:origin x="293"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notesMaster" Target="notesMasters/notesMaster1.xml"/><Relationship Id="rId78" Type="http://schemas.openxmlformats.org/officeDocument/2006/relationships/presProps" Target="presProps.xml"/><Relationship Id="rId79" Type="http://schemas.openxmlformats.org/officeDocument/2006/relationships/viewProps" Target="viewProps.xml"/><Relationship Id="rId80" Type="http://schemas.openxmlformats.org/officeDocument/2006/relationships/theme" Target="theme/theme1.xml"/><Relationship Id="rId81" Type="http://schemas.openxmlformats.org/officeDocument/2006/relationships/tableStyles" Target="tableStyles.xml"/><Relationship Id="rId82" Type="http://schemas.microsoft.com/office/2015/10/relationships/revisionInfo" Target="revisionInfo.xml"/><Relationship Id="rId83"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32405134578699</c:v>
                </c:pt>
                <c:pt idx="3">
                  <c:v>0.8350133273477596</c:v>
                </c:pt>
                <c:pt idx="5">
                  <c:v>0.023656210954889435</c:v>
                </c:pt>
                <c:pt idx="8">
                  <c:v>0.001505689668692795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4016122064920984</c:v>
                </c:pt>
                <c:pt idx="3">
                  <c:v>0.08734709385550567</c:v>
                </c:pt>
                <c:pt idx="5">
                  <c:v>0.0032272918172618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6383537932898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6459381689632108</c:v>
                </c:pt>
                <c:pt idx="3">
                  <c:v>0.0513549332777958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416707031591701</c:v>
                </c:pt>
                <c:pt idx="3">
                  <c:v>0.7937756632794946</c:v>
                </c:pt>
                <c:pt idx="5">
                  <c:v>0.029725209516809</c:v>
                </c:pt>
                <c:pt idx="8">
                  <c:v>0.00165289472000668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4672756874331694</c:v>
                </c:pt>
                <c:pt idx="3">
                  <c:v>0.06509663428333436</c:v>
                </c:pt>
                <c:pt idx="5">
                  <c:v>0.003162434115955917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685754162592094</c:v>
                </c:pt>
                <c:pt idx="4">
                  <c:v>0.000554881718801612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470851736910341</c:v>
                </c:pt>
                <c:pt idx="3">
                  <c:v>0.0774523487163953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86101943711526</c:v>
                </c:pt>
                <c:pt idx="3">
                  <c:v>0.8257758477637366</c:v>
                </c:pt>
                <c:pt idx="5">
                  <c:v>0.028798474348632794</c:v>
                </c:pt>
                <c:pt idx="8">
                  <c:v>0.000982107987761500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3920074758521253</c:v>
                </c:pt>
                <c:pt idx="3">
                  <c:v>0.10208358295453578</c:v>
                </c:pt>
                <c:pt idx="5">
                  <c:v>0.00312830721982223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041966943217714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642300629321162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443908691676696</c:v>
                </c:pt>
                <c:pt idx="3">
                  <c:v>0.8311162245661148</c:v>
                </c:pt>
                <c:pt idx="5">
                  <c:v>0.027826875690033417</c:v>
                </c:pt>
                <c:pt idx="8">
                  <c:v>0.001474534586312348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044690336290262</c:v>
                </c:pt>
                <c:pt idx="3">
                  <c:v>0.7745675062682031</c:v>
                </c:pt>
                <c:pt idx="5">
                  <c:v>0.028262209957363657</c:v>
                </c:pt>
                <c:pt idx="8">
                  <c:v>0.00155373888557873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1883415516745154</c:v>
                </c:pt>
                <c:pt idx="3">
                  <c:v>0.077741557245038</c:v>
                </c:pt>
                <c:pt idx="5">
                  <c:v>0.0031020164745473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957145751630061</c:v>
                </c:pt>
                <c:pt idx="4">
                  <c:v>0.000623133943214530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9387237059048084</c:v>
                </c:pt>
                <c:pt idx="3">
                  <c:v>0.11078130947693339</c:v>
                </c:pt>
                <c:pt idx="5">
                  <c:v>0.00266784339404292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880013387783621</c:v>
                </c:pt>
                <c:pt idx="3">
                  <c:v>0.07807593359969052</c:v>
                </c:pt>
                <c:pt idx="5">
                  <c:v>0.0030354809093582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885663703885325</c:v>
                </c:pt>
                <c:pt idx="3">
                  <c:v>0.8337413588039023</c:v>
                </c:pt>
                <c:pt idx="5">
                  <c:v>0.031117312200133713</c:v>
                </c:pt>
                <c:pt idx="7">
                  <c:v>0.0009359014064766453</c:v>
                </c:pt>
                <c:pt idx="8">
                  <c:v>0.00183428093537849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6418994332849293</c:v>
                </c:pt>
                <c:pt idx="3">
                  <c:v>0.06780737166183148</c:v>
                </c:pt>
                <c:pt idx="5">
                  <c:v>0.002558772507700342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736927230659406</c:v>
                </c:pt>
                <c:pt idx="4">
                  <c:v>0.000507044308397700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5898219611857133</c:v>
                </c:pt>
                <c:pt idx="3">
                  <c:v>0.051094967722453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5819869773832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000583253717835</c:v>
                </c:pt>
                <c:pt idx="3">
                  <c:v>0.8318281348449736</c:v>
                </c:pt>
                <c:pt idx="5">
                  <c:v>0.028037663403457955</c:v>
                </c:pt>
                <c:pt idx="8">
                  <c:v>0.00130420870953882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48796731150431</c:v>
                </c:pt>
                <c:pt idx="3">
                  <c:v>0.08166445413613142</c:v>
                </c:pt>
                <c:pt idx="5">
                  <c:v>0.003077895587726698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80348867871674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164682097971838</c:v>
                </c:pt>
                <c:pt idx="3">
                  <c:v>0.0670629848296529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1669442892246365</c:v>
                </c:pt>
                <c:pt idx="3">
                  <c:v>0.8345100043857537</c:v>
                </c:pt>
                <c:pt idx="5">
                  <c:v>0.026614264577710954</c:v>
                </c:pt>
                <c:pt idx="8">
                  <c:v>0.00136858656650800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950543112704297</c:v>
                </c:pt>
                <c:pt idx="3">
                  <c:v>0.08132414922626952</c:v>
                </c:pt>
                <c:pt idx="5">
                  <c:v>0.00332874456002963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004893479908114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24311164865983</c:v>
                </c:pt>
                <c:pt idx="3">
                  <c:v>0.0629963789360454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31005922762328</c:v>
                </c:pt>
                <c:pt idx="3">
                  <c:v>0.0637890465733007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46729739553191</c:v>
                </c:pt>
                <c:pt idx="3">
                  <c:v>0.8279664251549707</c:v>
                </c:pt>
                <c:pt idx="5">
                  <c:v>0.026133519455476817</c:v>
                </c:pt>
                <c:pt idx="8">
                  <c:v>0.001465215112654401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809219007309931</c:v>
                </c:pt>
                <c:pt idx="3">
                  <c:v>0.07886246914868163</c:v>
                </c:pt>
                <c:pt idx="5">
                  <c:v>0.003056277937985227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18820773814402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1226112738023976</c:v>
                </c:pt>
                <c:pt idx="3">
                  <c:v>0.06853815462544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385237252742035</c:v>
                </c:pt>
                <c:pt idx="3">
                  <c:v>0.8244864903659513</c:v>
                </c:pt>
                <c:pt idx="5">
                  <c:v>0.02518287782880221</c:v>
                </c:pt>
                <c:pt idx="8">
                  <c:v>0.001129110424099674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6405202389871863</c:v>
                </c:pt>
                <c:pt idx="3">
                  <c:v>0.08826571538660342</c:v>
                </c:pt>
                <c:pt idx="5">
                  <c:v>0.003444239887574674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89045671519847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4506259766442692</c:v>
                </c:pt>
                <c:pt idx="3">
                  <c:v>0.0739094297575511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902391411841486</c:v>
                </c:pt>
                <c:pt idx="3">
                  <c:v>0.4562345515199528</c:v>
                </c:pt>
                <c:pt idx="5">
                  <c:v>0.018003138878143435</c:v>
                </c:pt>
                <c:pt idx="8">
                  <c:v>0.000511782230404141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314643629768324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17934319165643</c:v>
                </c:pt>
                <c:pt idx="3">
                  <c:v>0.38155673348469415</c:v>
                </c:pt>
                <c:pt idx="5">
                  <c:v>0.014742191782749626</c:v>
                </c:pt>
                <c:pt idx="8">
                  <c:v>0.00051178223040414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3787081392330485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2468152054571277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3829393467918777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22061483082338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451033444831261</c:v>
                </c:pt>
                <c:pt idx="5">
                  <c:v>0.0029756283217058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52441780454170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057685792629454</c:v>
                </c:pt>
                <c:pt idx="3">
                  <c:v>0.10787972670939443</c:v>
                </c:pt>
                <c:pt idx="5">
                  <c:v>0.001414703333232177</c:v>
                </c:pt>
                <c:pt idx="8">
                  <c:v>0.00250899390590587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600678254186338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783622039630726</c:v>
                </c:pt>
                <c:pt idx="5">
                  <c:v>0.000801095413710711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623977247252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8309496869208564</c:v>
                </c:pt>
                <c:pt idx="3">
                  <c:v>0.10643214374108088</c:v>
                </c:pt>
                <c:pt idx="5">
                  <c:v>0.0046192740834110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500736200027242</c:v>
                </c:pt>
                <c:pt idx="3">
                  <c:v>0.006150616658148413</c:v>
                </c:pt>
                <c:pt idx="5">
                  <c:v>0.00086320467096802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862151802103521</c:v>
                </c:pt>
                <c:pt idx="1">
                  <c:v>0.05350555854905243</c:v>
                </c:pt>
                <c:pt idx="3">
                  <c:v>0.5427873455590778</c:v>
                </c:pt>
                <c:pt idx="5">
                  <c:v>0.0191208711327638</c:v>
                </c:pt>
                <c:pt idx="8">
                  <c:v>0.00147453458631234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918296392757507</c:v>
                </c:pt>
                <c:pt idx="3">
                  <c:v>0.06506618292581515</c:v>
                </c:pt>
                <c:pt idx="5">
                  <c:v>0.001448508018928203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2418756075227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919615194845879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378120374552335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866050092184048</c:v>
                </c:pt>
                <c:pt idx="3">
                  <c:v>0.4330884398909027</c:v>
                </c:pt>
                <c:pt idx="5">
                  <c:v>0.017391930980554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543790384146099</c:v>
                </c:pt>
                <c:pt idx="3">
                  <c:v>0.0367443019445717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9078298263490643</c:v>
                </c:pt>
                <c:pt idx="3">
                  <c:v>0.05713832562642216</c:v>
                </c:pt>
                <c:pt idx="5">
                  <c:v>0.0040867304738585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386719240332783</c:v>
                </c:pt>
                <c:pt idx="5">
                  <c:v>0.000723768219462022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86611780640140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4635264818188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56642986170574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13874296419667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07765887552245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1103089043601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3831877740807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8568270717652952</c:v>
                </c:pt>
                <c:pt idx="3">
                  <c:v>0.3715919040682162</c:v>
                </c:pt>
                <c:pt idx="5">
                  <c:v>0.01446714453345907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9835772589251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311903706293947</c:v>
                </c:pt>
                <c:pt idx="5">
                  <c:v>0.00290756880577585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69341479795835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372723837773284</c:v>
                </c:pt>
                <c:pt idx="3">
                  <c:v>0.5034498046745892</c:v>
                </c:pt>
                <c:pt idx="5">
                  <c:v>0.002988617658265128</c:v>
                </c:pt>
                <c:pt idx="8">
                  <c:v>0.01043140194577007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249780670313978</c:v>
                </c:pt>
                <c:pt idx="3">
                  <c:v>0.11301913005433217</c:v>
                </c:pt>
                <c:pt idx="5">
                  <c:v>0.0015020656070996053</c:v>
                </c:pt>
                <c:pt idx="8">
                  <c:v>0.002663931982031471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628068016076720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9282022871608904</c:v>
                </c:pt>
                <c:pt idx="5">
                  <c:v>0.000846113933473926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01514899739366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066901139062215</c:v>
                </c:pt>
                <c:pt idx="3">
                  <c:v>0.08458936880920016</c:v>
                </c:pt>
                <c:pt idx="5">
                  <c:v>0.00343555834438943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454201794405182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664045094968784</c:v>
                </c:pt>
                <c:pt idx="3">
                  <c:v>0.006131804292395322</c:v>
                </c:pt>
                <c:pt idx="5">
                  <c:v>0.000842587461070406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057719870458327</c:v>
                </c:pt>
                <c:pt idx="3">
                  <c:v>0.5625534929380924</c:v>
                </c:pt>
                <c:pt idx="5">
                  <c:v>0.02192542515721542</c:v>
                </c:pt>
                <c:pt idx="8">
                  <c:v>0.00146892155081555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821325656236869</c:v>
                </c:pt>
                <c:pt idx="3">
                  <c:v>0.06641723227915752</c:v>
                </c:pt>
                <c:pt idx="5">
                  <c:v>0.00156313799451970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82356299990992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841569638488078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59320888416619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07080805104448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4951135186007925</c:v>
                </c:pt>
                <c:pt idx="3">
                  <c:v>0.05568028971301983</c:v>
                </c:pt>
                <c:pt idx="5">
                  <c:v>0.00429561842645646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334034952366751</c:v>
                </c:pt>
                <c:pt idx="5">
                  <c:v>0.000785012630330061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85959205331626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79273892155251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5168503073060832</c:v>
                </c:pt>
                <c:pt idx="3">
                  <c:v>0.01846350520794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10586050368307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186577566477809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9772293276094525</c:v>
                </c:pt>
                <c:pt idx="3">
                  <c:v>0.11949111271129347</c:v>
                </c:pt>
                <c:pt idx="5">
                  <c:v>0.00370308431991950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615743814155633</c:v>
                </c:pt>
                <c:pt idx="3">
                  <c:v>0.007719419112082671</c:v>
                </c:pt>
                <c:pt idx="5">
                  <c:v>0.000898606035398515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534507297697897</c:v>
                </c:pt>
                <c:pt idx="3">
                  <c:v>0.5371444665865026</c:v>
                </c:pt>
                <c:pt idx="5">
                  <c:v>0.017036991516398252</c:v>
                </c:pt>
                <c:pt idx="8">
                  <c:v>0.001053488465312890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126299347273611</c:v>
                </c:pt>
                <c:pt idx="3">
                  <c:v>0.07227765903542345</c:v>
                </c:pt>
                <c:pt idx="5">
                  <c:v>0.001355600132665439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17089139309092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204582186080631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15056171022937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375648920630862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894831041378994</c:v>
                </c:pt>
                <c:pt idx="3">
                  <c:v>0.05799187655294452</c:v>
                </c:pt>
                <c:pt idx="5">
                  <c:v>0.00387668297301825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479071511657821</c:v>
                </c:pt>
                <c:pt idx="5">
                  <c:v>0.000774715246303602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6862895784659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240309182914103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631243877919607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8388104911044854</c:v>
                </c:pt>
                <c:pt idx="3">
                  <c:v>0.8288015970314865</c:v>
                </c:pt>
                <c:pt idx="5">
                  <c:v>0.029656601928061316</c:v>
                </c:pt>
                <c:pt idx="8">
                  <c:v>0.00146892155081555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76353590222463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235876923631823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826764730479732</c:v>
                </c:pt>
                <c:pt idx="3">
                  <c:v>0.07931823529242128</c:v>
                </c:pt>
                <c:pt idx="5">
                  <c:v>0.00319073808592017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5569489431402525</c:v>
                </c:pt>
                <c:pt idx="3">
                  <c:v>0.1081199391207898</c:v>
                </c:pt>
                <c:pt idx="5">
                  <c:v>0.004744209521197887</c:v>
                </c:pt>
                <c:pt idx="7">
                  <c:v>0.00106543532222784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6115932926718396</c:v>
                </c:pt>
                <c:pt idx="3">
                  <c:v>0.0044310413205107604</c:v>
                </c:pt>
                <c:pt idx="5">
                  <c:v>0.000880900744969282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5008995753493257</c:v>
                </c:pt>
                <c:pt idx="3">
                  <c:v>0.5377645958004746</c:v>
                </c:pt>
                <c:pt idx="5">
                  <c:v>0.019991532541235247</c:v>
                </c:pt>
                <c:pt idx="8">
                  <c:v>0.00257205817237544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280151991621983</c:v>
                </c:pt>
                <c:pt idx="3">
                  <c:v>0.0592978889342649</c:v>
                </c:pt>
                <c:pt idx="5">
                  <c:v>0.001694966063820951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31890769290497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078807118718995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849325920498277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536662917002686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7142063121145597</c:v>
                </c:pt>
                <c:pt idx="3">
                  <c:v>0.04606189451895447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769131763585406</c:v>
                </c:pt>
                <c:pt idx="3">
                  <c:v>0.05270722790732875</c:v>
                </c:pt>
                <c:pt idx="5">
                  <c:v>0.0044304270243148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43613801318918505</c:v>
                </c:pt>
                <c:pt idx="5">
                  <c:v>0.000877829263989612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9688217651530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36086314021335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11755221149087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39516887985300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997739881435919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802988564593651</c:v>
                </c:pt>
                <c:pt idx="3">
                  <c:v>0.0687167988394108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0465328289488825</c:v>
                </c:pt>
                <c:pt idx="3">
                  <c:v>0.15503537712886764</c:v>
                </c:pt>
                <c:pt idx="5">
                  <c:v>0.00654649476999113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5060956288844477</c:v>
                </c:pt>
                <c:pt idx="3">
                  <c:v>0.004370761515489996</c:v>
                </c:pt>
                <c:pt idx="5">
                  <c:v>0.000912706912391819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04320566295570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541878129906729</c:v>
                </c:pt>
                <c:pt idx="3">
                  <c:v>0.5024495807319003</c:v>
                </c:pt>
                <c:pt idx="5">
                  <c:v>0.016697438366615743</c:v>
                </c:pt>
                <c:pt idx="8">
                  <c:v>0.001544131574242405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2297468813781945</c:v>
                </c:pt>
                <c:pt idx="3">
                  <c:v>0.04655831959965517</c:v>
                </c:pt>
                <c:pt idx="5">
                  <c:v>0.001040337184663833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11616124960834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776048701304448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07057369895895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313476588430431</c:v>
                </c:pt>
                <c:pt idx="3">
                  <c:v>0.05142296247386765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585884906171393</c:v>
                </c:pt>
                <c:pt idx="3">
                  <c:v>0.06365387236618736</c:v>
                </c:pt>
                <c:pt idx="5">
                  <c:v>0.00418046672673491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4199584714814493</c:v>
                </c:pt>
                <c:pt idx="5">
                  <c:v>0.000528931003535057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425605358701251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6337559942858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879551364546399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2990371968781033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0238736957696578</c:v>
                </c:pt>
                <c:pt idx="3">
                  <c:v>0.1440107993063673</c:v>
                </c:pt>
                <c:pt idx="5">
                  <c:v>0.01570630306776501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013801863461637</c:v>
                </c:pt>
                <c:pt idx="3">
                  <c:v>0.006018351453998489</c:v>
                </c:pt>
                <c:pt idx="5">
                  <c:v>0.000764883722134837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6356390922919404</c:v>
                </c:pt>
                <c:pt idx="3">
                  <c:v>0.4849316755672888</c:v>
                </c:pt>
                <c:pt idx="5">
                  <c:v>0.013436687598811869</c:v>
                </c:pt>
                <c:pt idx="8">
                  <c:v>0.00151796901213742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499089218592718</c:v>
                </c:pt>
                <c:pt idx="3">
                  <c:v>0.053692362500784165</c:v>
                </c:pt>
                <c:pt idx="5">
                  <c:v>0.000708769227847292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973953090584908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699560695451387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006067847315626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58153263359997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289460431799595</c:v>
                </c:pt>
                <c:pt idx="3">
                  <c:v>0.06308765544434335</c:v>
                </c:pt>
                <c:pt idx="5">
                  <c:v>0.00437520395460423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011168223196408</c:v>
                </c:pt>
                <c:pt idx="5">
                  <c:v>0.000595676939360087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9297193296879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676251597824254</c:v>
                </c:pt>
                <c:pt idx="3">
                  <c:v>0.0244204523806646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5841662738652067</c:v>
                </c:pt>
                <c:pt idx="3">
                  <c:v>0.011882172223728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022406085919060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792509319322551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53643256813785</c:v>
                </c:pt>
                <c:pt idx="3">
                  <c:v>0.8351840293482503</c:v>
                </c:pt>
                <c:pt idx="5">
                  <c:v>0.024616758809336017</c:v>
                </c:pt>
                <c:pt idx="8">
                  <c:v>0.001053488465312890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353467368997876</c:v>
                </c:pt>
                <c:pt idx="3">
                  <c:v>0.10551830131968383</c:v>
                </c:pt>
                <c:pt idx="5">
                  <c:v>0.004713937684963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629249308429409</c:v>
                </c:pt>
                <c:pt idx="3">
                  <c:v>0.006076177251748237</c:v>
                </c:pt>
                <c:pt idx="5">
                  <c:v>0.000820417695057739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4918466541566789</c:v>
                </c:pt>
                <c:pt idx="3">
                  <c:v>0.5475254864869514</c:v>
                </c:pt>
                <c:pt idx="5">
                  <c:v>0.01986533817523168</c:v>
                </c:pt>
                <c:pt idx="8">
                  <c:v>0.001538576291139435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51163122107362</c:v>
                </c:pt>
                <c:pt idx="3">
                  <c:v>0.06290200834781293</c:v>
                </c:pt>
                <c:pt idx="5">
                  <c:v>0.001430497568644431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5035081990927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867742106091054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2313142569807157</c:v>
                </c:pt>
                <c:pt idx="3">
                  <c:v>0.08846006931670707</c:v>
                </c:pt>
                <c:pt idx="5">
                  <c:v>0.00302892141436755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70718545078771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026182827288645</c:v>
                </c:pt>
                <c:pt idx="3">
                  <c:v>0.0358980385758328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8381483399012297</c:v>
                </c:pt>
                <c:pt idx="3">
                  <c:v>0.057336828148713166</c:v>
                </c:pt>
                <c:pt idx="5">
                  <c:v>0.00407791465451762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002851082591735</c:v>
                </c:pt>
                <c:pt idx="5">
                  <c:v>0.000720013201378948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51473276064969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46540782738510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03637441145245</c:v>
                </c:pt>
                <c:pt idx="4">
                  <c:v>0.00063733665264667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463164202638779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071578065101378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03710807260442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79761248777808</c:v>
                </c:pt>
                <c:pt idx="3">
                  <c:v>0.12494465368462894</c:v>
                </c:pt>
                <c:pt idx="5">
                  <c:v>0.00535642877159743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924477113202163</c:v>
                </c:pt>
                <c:pt idx="3">
                  <c:v>0.006902452091044895</c:v>
                </c:pt>
                <c:pt idx="5">
                  <c:v>0.001189018031540914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9614102923380008</c:v>
                </c:pt>
                <c:pt idx="1">
                  <c:v>0.06232973464206284</c:v>
                </c:pt>
                <c:pt idx="3">
                  <c:v>0.5342574387472038</c:v>
                </c:pt>
                <c:pt idx="5">
                  <c:v>0.014403611496080064</c:v>
                </c:pt>
                <c:pt idx="8">
                  <c:v>0.001505689668692795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998184223254384</c:v>
                </c:pt>
                <c:pt idx="3">
                  <c:v>0.062635166934692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9783927085156032</c:v>
                </c:pt>
                <c:pt idx="3">
                  <c:v>0.07309072267556346</c:v>
                </c:pt>
                <c:pt idx="5">
                  <c:v>0.001389036953870748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755028249299146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987049899323309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61924328973250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96229853228993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536971638546315</c:v>
                </c:pt>
                <c:pt idx="3">
                  <c:v>0.06466923632505564</c:v>
                </c:pt>
                <c:pt idx="5">
                  <c:v>0.00389617068721193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071488921965481</c:v>
                </c:pt>
                <c:pt idx="5">
                  <c:v>0.000649236831850209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9035569931728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88324127814790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81053934787533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332550200776115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834411771188548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249084445163978</c:v>
                </c:pt>
                <c:pt idx="3">
                  <c:v>0.09869426539535649</c:v>
                </c:pt>
                <c:pt idx="5">
                  <c:v>0.00482185685618379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2792308425454578</c:v>
                </c:pt>
                <c:pt idx="3">
                  <c:v>0.00499863564377377</c:v>
                </c:pt>
                <c:pt idx="5">
                  <c:v>0.000801640883162799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700929198398285</c:v>
                </c:pt>
                <c:pt idx="3">
                  <c:v>0.5228395843478965</c:v>
                </c:pt>
                <c:pt idx="5">
                  <c:v>0.020403196640941916</c:v>
                </c:pt>
                <c:pt idx="8">
                  <c:v>0.00165289472000668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2943001244240652</c:v>
                </c:pt>
                <c:pt idx="3">
                  <c:v>0.05212859155352519</c:v>
                </c:pt>
                <c:pt idx="5">
                  <c:v>0.001550274242129492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73110301346469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06015048392213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746808124512846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9608109890081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443829650006724</c:v>
                </c:pt>
                <c:pt idx="3">
                  <c:v>0.05557120829737482</c:v>
                </c:pt>
                <c:pt idx="5">
                  <c:v>0.0045001560196832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1110102894654725</c:v>
                </c:pt>
                <c:pt idx="5">
                  <c:v>0.00081051899066362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880786600324573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6572410758699566</c:v>
                </c:pt>
                <c:pt idx="3">
                  <c:v>0.0331176910653598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21790139817137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365490796144290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746022150878214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638127547702925</c:v>
                </c:pt>
                <c:pt idx="3">
                  <c:v>0.08874165346076505</c:v>
                </c:pt>
                <c:pt idx="5">
                  <c:v>0.0036211158732012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324450077179952</c:v>
                </c:pt>
                <c:pt idx="3">
                  <c:v>0.004863916129281306</c:v>
                </c:pt>
                <c:pt idx="5">
                  <c:v>0.000635688069669006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27155110395656</c:v>
                </c:pt>
                <c:pt idx="3">
                  <c:v>0.5689884488258571</c:v>
                </c:pt>
                <c:pt idx="5">
                  <c:v>0.02148655755358354</c:v>
                </c:pt>
                <c:pt idx="8">
                  <c:v>0.000982107987761500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319158525464371</c:v>
                </c:pt>
                <c:pt idx="3">
                  <c:v>0.08888904485862208</c:v>
                </c:pt>
                <c:pt idx="5">
                  <c:v>0.001905560215151334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72830601662715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121979416340091</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922956410748743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226361759521225</c:v>
                </c:pt>
                <c:pt idx="3">
                  <c:v>0.8366582729234454</c:v>
                </c:pt>
                <c:pt idx="5">
                  <c:v>0.02916616908674796</c:v>
                </c:pt>
                <c:pt idx="7">
                  <c:v>0.0017691730442897728</c:v>
                </c:pt>
                <c:pt idx="8">
                  <c:v>0.00257205817237544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109908361654373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2548322069254906</c:v>
                </c:pt>
                <c:pt idx="3">
                  <c:v>0.06067361879470935</c:v>
                </c:pt>
                <c:pt idx="5">
                  <c:v>0.00369080092184796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0111180239125</c:v>
                </c:pt>
                <c:pt idx="5">
                  <c:v>0.000587058935001897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4497828984869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06854301597893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3862950027250178</c:v>
                </c:pt>
                <c:pt idx="3">
                  <c:v>0.06927270770460117</c:v>
                </c:pt>
                <c:pt idx="5">
                  <c:v>0.003453696072779847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763883993945923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482030030746647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307516610358807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82674783239444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13091274104115251</c:v>
                </c:pt>
                <c:pt idx="3">
                  <c:v>0.11701046439043465</c:v>
                </c:pt>
                <c:pt idx="5">
                  <c:v>0.0053258564541876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329060050779136</c:v>
                </c:pt>
                <c:pt idx="3">
                  <c:v>0.005359716493170376</c:v>
                </c:pt>
                <c:pt idx="5">
                  <c:v>0.001061129931346040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5537481697829735</c:v>
                </c:pt>
                <c:pt idx="3">
                  <c:v>0.4933074540691302</c:v>
                </c:pt>
                <c:pt idx="5">
                  <c:v>0.018123858930339524</c:v>
                </c:pt>
                <c:pt idx="8">
                  <c:v>0.001553738885578736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4139296923597006</c:v>
                </c:pt>
                <c:pt idx="3">
                  <c:v>0.06122168112909031</c:v>
                </c:pt>
                <c:pt idx="5">
                  <c:v>0.0009890408160924751</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288586434206652</c:v>
                </c:pt>
                <c:pt idx="3">
                  <c:v>0.4778356501415503</c:v>
                </c:pt>
                <c:pt idx="5">
                  <c:v>0.0028189880720594722</c:v>
                </c:pt>
                <c:pt idx="8">
                  <c:v>0.00982469675972478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870184433447820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66573205677345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43005853963836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746340248609144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6602341694760487</c:v>
                </c:pt>
                <c:pt idx="3">
                  <c:v>0.05518967902321433</c:v>
                </c:pt>
                <c:pt idx="5">
                  <c:v>0.0048124945728364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220853196524213</c:v>
                </c:pt>
                <c:pt idx="5">
                  <c:v>0.001051845727108838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2161035068623922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104949802172054</c:v>
                </c:pt>
                <c:pt idx="3">
                  <c:v>0.0568765790483716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2541671058459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3831099571998184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482705438959907</c:v>
                </c:pt>
                <c:pt idx="3">
                  <c:v>0.08985689764492506</c:v>
                </c:pt>
                <c:pt idx="5">
                  <c:v>0.00266784339404292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0201702067701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0162391393000203</c:v>
                </c:pt>
                <c:pt idx="3">
                  <c:v>0.11970826141432231</c:v>
                </c:pt>
                <c:pt idx="5">
                  <c:v>0.0077993114436088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008825225439374</c:v>
                </c:pt>
                <c:pt idx="3">
                  <c:v>0.005718593602190559</c:v>
                </c:pt>
                <c:pt idx="5">
                  <c:v>0.000774886647256080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03128616064922</c:v>
                </c:pt>
                <c:pt idx="1">
                  <c:v>0.054745566992243797</c:v>
                </c:pt>
                <c:pt idx="3">
                  <c:v>0.513677198389094</c:v>
                </c:pt>
                <c:pt idx="5">
                  <c:v>0.019013961980458585</c:v>
                </c:pt>
                <c:pt idx="8">
                  <c:v>0.00183428093537849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729087154090826</c:v>
                </c:pt>
                <c:pt idx="3">
                  <c:v>0.05636763975564676</c:v>
                </c:pt>
                <c:pt idx="5">
                  <c:v>0.001101805984849244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76130377747011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25209896734503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5535653991606774</c:v>
                </c:pt>
                <c:pt idx="3">
                  <c:v>0.04954908632481741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2377409115351384</c:v>
                </c:pt>
                <c:pt idx="3">
                  <c:v>0.06845701906345893</c:v>
                </c:pt>
                <c:pt idx="5">
                  <c:v>0.00430403877606629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4736039329314401</c:v>
                </c:pt>
                <c:pt idx="5">
                  <c:v>0.000682079875595017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1660120546017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47750670716035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016773027717640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391744368637278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73606747072258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800245459451955</c:v>
                </c:pt>
                <c:pt idx="3">
                  <c:v>0.09248227031920409</c:v>
                </c:pt>
                <c:pt idx="5">
                  <c:v>0.003195881242971176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913102589400062</c:v>
                </c:pt>
                <c:pt idx="3">
                  <c:v>0.005967876685377336</c:v>
                </c:pt>
                <c:pt idx="5">
                  <c:v>0.00069723463804177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5097668299503248</c:v>
                </c:pt>
                <c:pt idx="3">
                  <c:v>0.5644677111563292</c:v>
                </c:pt>
                <c:pt idx="5">
                  <c:v>0.020616375957131672</c:v>
                </c:pt>
                <c:pt idx="8">
                  <c:v>0.00130420870953882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503623977149598</c:v>
                </c:pt>
                <c:pt idx="3">
                  <c:v>0.06893412026034475</c:v>
                </c:pt>
                <c:pt idx="5">
                  <c:v>0.00168856058732827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35011775974711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965757256374511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48995201711315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340154389723562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8471070204853493</c:v>
                </c:pt>
                <c:pt idx="3">
                  <c:v>0.0513522039186435</c:v>
                </c:pt>
                <c:pt idx="5">
                  <c:v>0.00422540620335510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243841128259136</c:v>
                </c:pt>
                <c:pt idx="5">
                  <c:v>0.000692100362356640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67307232592546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38891686498662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8223495431316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865800574601753</c:v>
                </c:pt>
                <c:pt idx="3">
                  <c:v>0.8559555188144015</c:v>
                </c:pt>
                <c:pt idx="5">
                  <c:v>0.02742439986334179</c:v>
                </c:pt>
                <c:pt idx="8">
                  <c:v>0.00154413157424240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8755739093360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126254714291934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816562904376426</c:v>
                </c:pt>
                <c:pt idx="3">
                  <c:v>0.056448515081083284</c:v>
                </c:pt>
                <c:pt idx="5">
                  <c:v>0.002481975100590710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511766932161245</c:v>
                </c:pt>
                <c:pt idx="3">
                  <c:v>0.10354813863450128</c:v>
                </c:pt>
                <c:pt idx="5">
                  <c:v>0.00359803356524546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184391025189227</c:v>
                </c:pt>
                <c:pt idx="3">
                  <c:v>0.006038390372512468</c:v>
                </c:pt>
                <c:pt idx="5">
                  <c:v>0.00103825872010991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5210802092927447</c:v>
                </c:pt>
                <c:pt idx="3">
                  <c:v>0.554186666085091</c:v>
                </c:pt>
                <c:pt idx="5">
                  <c:v>0.018899367297170858</c:v>
                </c:pt>
                <c:pt idx="8">
                  <c:v>0.00136858656650800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066676755584788</c:v>
                </c:pt>
                <c:pt idx="3">
                  <c:v>0.06826336650885223</c:v>
                </c:pt>
                <c:pt idx="5">
                  <c:v>0.001525372609544772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24383514353170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29612170369596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891911781719784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45933310478121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33464897081066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8971244189674144</c:v>
                </c:pt>
                <c:pt idx="3">
                  <c:v>0.054942803015292155</c:v>
                </c:pt>
                <c:pt idx="5">
                  <c:v>0.0041168637152946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483256075093467</c:v>
                </c:pt>
                <c:pt idx="5">
                  <c:v>0.000765113230374948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42792163942614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693375437278800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65478426160688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416299524907703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27357076688987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54654610532949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8007391897228783</c:v>
                </c:pt>
                <c:pt idx="3">
                  <c:v>0.10284490345741752</c:v>
                </c:pt>
                <c:pt idx="5">
                  <c:v>0.0030886506061802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6688143572369473</c:v>
                </c:pt>
                <c:pt idx="3">
                  <c:v>0.005748094276495704</c:v>
                </c:pt>
                <c:pt idx="5">
                  <c:v>0.000811634952215126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5478200609533461</c:v>
                </c:pt>
                <c:pt idx="3">
                  <c:v>0.5494834034189181</c:v>
                </c:pt>
                <c:pt idx="5">
                  <c:v>0.01923971422633877</c:v>
                </c:pt>
                <c:pt idx="8">
                  <c:v>0.00146521511265440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0022205497723564</c:v>
                </c:pt>
                <c:pt idx="3">
                  <c:v>0.06553536196534386</c:v>
                </c:pt>
                <c:pt idx="5">
                  <c:v>0.001584604850601378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65872501364040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132629414087823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62765967135532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02892261938766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5252411598191437</c:v>
                </c:pt>
                <c:pt idx="3">
                  <c:v>0.05043206334776442</c:v>
                </c:pt>
                <c:pt idx="5">
                  <c:v>0.00380515462295776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935541132745327</c:v>
                </c:pt>
                <c:pt idx="5">
                  <c:v>0.000660038135168722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025824447408489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414073748415519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5343560115879249</c:v>
                </c:pt>
                <c:pt idx="3">
                  <c:v>0.01624569778830924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6540926586902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03054373663385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694352889235898</c:v>
                </c:pt>
                <c:pt idx="3">
                  <c:v>0.10248552908157108</c:v>
                </c:pt>
                <c:pt idx="5">
                  <c:v>0.00316758064802601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1446968601305854</c:v>
                </c:pt>
                <c:pt idx="3">
                  <c:v>0.007691090611927103</c:v>
                </c:pt>
                <c:pt idx="5">
                  <c:v>0.00098901373744974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5399358926261296</c:v>
                </c:pt>
                <c:pt idx="3">
                  <c:v>0.5535974038072226</c:v>
                </c:pt>
                <c:pt idx="5">
                  <c:v>0.018176140501209036</c:v>
                </c:pt>
                <c:pt idx="8">
                  <c:v>0.001129110424099674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255230427332954</c:v>
                </c:pt>
                <c:pt idx="3">
                  <c:v>0.07256972120940594</c:v>
                </c:pt>
                <c:pt idx="5">
                  <c:v>0.001613105510385097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560165274217968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543147785874266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124292040514584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81365074566597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95793039677629</c:v>
                </c:pt>
                <c:pt idx="3">
                  <c:v>0.052026345426595316</c:v>
                </c:pt>
                <c:pt idx="5">
                  <c:v>0.00383915667956716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964802202689639</c:v>
                </c:pt>
                <c:pt idx="5">
                  <c:v>0.000842120639739829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10438163714849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5425348402154698</c:v>
                </c:pt>
                <c:pt idx="3">
                  <c:v>0.0224522611025264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78868707474856</c:v>
                </c:pt>
                <c:pt idx="3">
                  <c:v>0.02155259751581207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017495230731812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4422890457440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726217670137708</c:v>
                </c:pt>
                <c:pt idx="3">
                  <c:v>0.8096400672453078</c:v>
                </c:pt>
                <c:pt idx="5">
                  <c:v>0.03351819462118112</c:v>
                </c:pt>
                <c:pt idx="8">
                  <c:v>0.001517969012137421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807163547564084</c:v>
                </c:pt>
                <c:pt idx="3">
                  <c:v>0.06593855952078798</c:v>
                </c:pt>
                <c:pt idx="5">
                  <c:v>0.002069329889342217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890436306020250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4466028860691596</c:v>
                </c:pt>
                <c:pt idx="3">
                  <c:v>0.0651028852058596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5922117108262755</c:v>
                </c:pt>
                <c:pt idx="3">
                  <c:v>0.8407163074015528</c:v>
                </c:pt>
                <c:pt idx="5">
                  <c:v>0.028657190514712872</c:v>
                </c:pt>
                <c:pt idx="8">
                  <c:v>0.00153857629113943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379735721303218</c:v>
                </c:pt>
                <c:pt idx="3">
                  <c:v>0.07542027434472691</c:v>
                </c:pt>
                <c:pt idx="5">
                  <c:v>0.002970928465081118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99821979208766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019782285965598</c:v>
                </c:pt>
                <c:pt idx="3">
                  <c:v>0.0574961536658586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8.xml"/><Relationship Id="rId7" Type="http://schemas.openxmlformats.org/officeDocument/2006/relationships/chart" Target="../charts/chart299.xml"/><Relationship Id="rId8" Type="http://schemas.openxmlformats.org/officeDocument/2006/relationships/chart" Target="../charts/chart300.xml"/><Relationship Id="rId9" Type="http://schemas.openxmlformats.org/officeDocument/2006/relationships/chart" Target="../charts/chart301.xml"/><Relationship Id="rId10" Type="http://schemas.openxmlformats.org/officeDocument/2006/relationships/chart" Target="../charts/chart302.xml"/><Relationship Id="rId11" Type="http://schemas.openxmlformats.org/officeDocument/2006/relationships/chart" Target="../charts/chart303.xml"/><Relationship Id="rId12" Type="http://schemas.openxmlformats.org/officeDocument/2006/relationships/chart" Target="../charts/chart304.xml"/><Relationship Id="rId13" Type="http://schemas.openxmlformats.org/officeDocument/2006/relationships/chart" Target="../charts/chart305.xml"/><Relationship Id="rId14" Type="http://schemas.openxmlformats.org/officeDocument/2006/relationships/chart" Target="../charts/chart306.xml"/><Relationship Id="rId15" Type="http://schemas.openxmlformats.org/officeDocument/2006/relationships/chart" Target="../charts/chart307.xml"/><Relationship Id="rId16" Type="http://schemas.openxmlformats.org/officeDocument/2006/relationships/chart" Target="../charts/chart30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 Id="rId7" Type="http://schemas.openxmlformats.org/officeDocument/2006/relationships/chart" Target="../charts/chart310.xml"/><Relationship Id="rId8" Type="http://schemas.openxmlformats.org/officeDocument/2006/relationships/chart" Target="../charts/chart311.xml"/><Relationship Id="rId9" Type="http://schemas.openxmlformats.org/officeDocument/2006/relationships/chart" Target="../charts/chart312.xml"/><Relationship Id="rId10" Type="http://schemas.openxmlformats.org/officeDocument/2006/relationships/chart" Target="../charts/chart313.xml"/><Relationship Id="rId11" Type="http://schemas.openxmlformats.org/officeDocument/2006/relationships/chart" Target="../charts/chart314.xml"/><Relationship Id="rId12" Type="http://schemas.openxmlformats.org/officeDocument/2006/relationships/chart" Target="../charts/chart315.xml"/><Relationship Id="rId13" Type="http://schemas.openxmlformats.org/officeDocument/2006/relationships/chart" Target="../charts/chart316.xml"/><Relationship Id="rId14" Type="http://schemas.openxmlformats.org/officeDocument/2006/relationships/chart" Target="../charts/chart317.xml"/><Relationship Id="rId15" Type="http://schemas.openxmlformats.org/officeDocument/2006/relationships/chart" Target="../charts/chart318.xml"/><Relationship Id="rId16" Type="http://schemas.openxmlformats.org/officeDocument/2006/relationships/chart" Target="../charts/chart31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xml"/><Relationship Id="rId7" Type="http://schemas.openxmlformats.org/officeDocument/2006/relationships/chart" Target="../charts/chart321.xml"/><Relationship Id="rId8" Type="http://schemas.openxmlformats.org/officeDocument/2006/relationships/chart" Target="../charts/chart322.xml"/><Relationship Id="rId9" Type="http://schemas.openxmlformats.org/officeDocument/2006/relationships/chart" Target="../charts/chart323.xml"/><Relationship Id="rId10" Type="http://schemas.openxmlformats.org/officeDocument/2006/relationships/chart" Target="../charts/chart324.xml"/><Relationship Id="rId11" Type="http://schemas.openxmlformats.org/officeDocument/2006/relationships/chart" Target="../charts/chart325.xml"/><Relationship Id="rId12" Type="http://schemas.openxmlformats.org/officeDocument/2006/relationships/chart" Target="../charts/chart326.xml"/><Relationship Id="rId13" Type="http://schemas.openxmlformats.org/officeDocument/2006/relationships/chart" Target="../charts/chart327.xml"/><Relationship Id="rId14" Type="http://schemas.openxmlformats.org/officeDocument/2006/relationships/chart" Target="../charts/chart328.xml"/><Relationship Id="rId15" Type="http://schemas.openxmlformats.org/officeDocument/2006/relationships/chart" Target="../charts/chart329.xml"/><Relationship Id="rId16" Type="http://schemas.openxmlformats.org/officeDocument/2006/relationships/chart" Target="../charts/chart3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 Id="rId7" Type="http://schemas.openxmlformats.org/officeDocument/2006/relationships/chart" Target="../charts/chart332.xml"/><Relationship Id="rId8" Type="http://schemas.openxmlformats.org/officeDocument/2006/relationships/chart" Target="../charts/chart333.xml"/><Relationship Id="rId9" Type="http://schemas.openxmlformats.org/officeDocument/2006/relationships/chart" Target="../charts/chart334.xml"/><Relationship Id="rId10" Type="http://schemas.openxmlformats.org/officeDocument/2006/relationships/chart" Target="../charts/chart335.xml"/><Relationship Id="rId11" Type="http://schemas.openxmlformats.org/officeDocument/2006/relationships/chart" Target="../charts/chart336.xml"/><Relationship Id="rId12" Type="http://schemas.openxmlformats.org/officeDocument/2006/relationships/chart" Target="../charts/chart337.xml"/><Relationship Id="rId13" Type="http://schemas.openxmlformats.org/officeDocument/2006/relationships/chart" Target="../charts/chart338.xml"/><Relationship Id="rId14" Type="http://schemas.openxmlformats.org/officeDocument/2006/relationships/chart" Target="../charts/chart339.xml"/><Relationship Id="rId15" Type="http://schemas.openxmlformats.org/officeDocument/2006/relationships/chart" Target="../charts/chart340.xml"/><Relationship Id="rId16" Type="http://schemas.openxmlformats.org/officeDocument/2006/relationships/chart" Target="../charts/chart34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2.xml"/><Relationship Id="rId7" Type="http://schemas.openxmlformats.org/officeDocument/2006/relationships/chart" Target="../charts/chart343.xml"/><Relationship Id="rId8" Type="http://schemas.openxmlformats.org/officeDocument/2006/relationships/chart" Target="../charts/chart344.xml"/><Relationship Id="rId9" Type="http://schemas.openxmlformats.org/officeDocument/2006/relationships/chart" Target="../charts/chart345.xml"/><Relationship Id="rId10" Type="http://schemas.openxmlformats.org/officeDocument/2006/relationships/chart" Target="../charts/chart346.xml"/><Relationship Id="rId11" Type="http://schemas.openxmlformats.org/officeDocument/2006/relationships/chart" Target="../charts/chart347.xml"/><Relationship Id="rId12" Type="http://schemas.openxmlformats.org/officeDocument/2006/relationships/chart" Target="../charts/chart348.xml"/><Relationship Id="rId13" Type="http://schemas.openxmlformats.org/officeDocument/2006/relationships/chart" Target="../charts/chart349.xml"/><Relationship Id="rId14" Type="http://schemas.openxmlformats.org/officeDocument/2006/relationships/chart" Target="../charts/chart350.xml"/><Relationship Id="rId15" Type="http://schemas.openxmlformats.org/officeDocument/2006/relationships/chart" Target="../charts/chart351.xml"/><Relationship Id="rId16" Type="http://schemas.openxmlformats.org/officeDocument/2006/relationships/chart" Target="../charts/chart35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 Id="rId8" Type="http://schemas.openxmlformats.org/officeDocument/2006/relationships/chart" Target="../charts/chart355.xml"/><Relationship Id="rId9" Type="http://schemas.openxmlformats.org/officeDocument/2006/relationships/chart" Target="../charts/chart356.xml"/><Relationship Id="rId10" Type="http://schemas.openxmlformats.org/officeDocument/2006/relationships/chart" Target="../charts/chart357.xml"/><Relationship Id="rId11" Type="http://schemas.openxmlformats.org/officeDocument/2006/relationships/chart" Target="../charts/chart358.xml"/><Relationship Id="rId12" Type="http://schemas.openxmlformats.org/officeDocument/2006/relationships/chart" Target="../charts/chart359.xml"/><Relationship Id="rId13" Type="http://schemas.openxmlformats.org/officeDocument/2006/relationships/chart" Target="../charts/chart360.xml"/><Relationship Id="rId14" Type="http://schemas.openxmlformats.org/officeDocument/2006/relationships/chart" Target="../charts/chart361.xml"/><Relationship Id="rId15" Type="http://schemas.openxmlformats.org/officeDocument/2006/relationships/chart" Target="../charts/chart362.xml"/><Relationship Id="rId16" Type="http://schemas.openxmlformats.org/officeDocument/2006/relationships/chart" Target="../charts/chart36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4.xml"/><Relationship Id="rId7" Type="http://schemas.openxmlformats.org/officeDocument/2006/relationships/chart" Target="../charts/chart365.xml"/><Relationship Id="rId8" Type="http://schemas.openxmlformats.org/officeDocument/2006/relationships/chart" Target="../charts/chart366.xml"/><Relationship Id="rId9" Type="http://schemas.openxmlformats.org/officeDocument/2006/relationships/chart" Target="../charts/chart367.xml"/><Relationship Id="rId10" Type="http://schemas.openxmlformats.org/officeDocument/2006/relationships/chart" Target="../charts/chart368.xml"/><Relationship Id="rId11" Type="http://schemas.openxmlformats.org/officeDocument/2006/relationships/chart" Target="../charts/chart369.xml"/><Relationship Id="rId12" Type="http://schemas.openxmlformats.org/officeDocument/2006/relationships/chart" Target="../charts/chart370.xml"/><Relationship Id="rId13" Type="http://schemas.openxmlformats.org/officeDocument/2006/relationships/chart" Target="../charts/chart371.xml"/><Relationship Id="rId14" Type="http://schemas.openxmlformats.org/officeDocument/2006/relationships/chart" Target="../charts/chart372.xml"/><Relationship Id="rId15" Type="http://schemas.openxmlformats.org/officeDocument/2006/relationships/chart" Target="../charts/chart373.xml"/><Relationship Id="rId16" Type="http://schemas.openxmlformats.org/officeDocument/2006/relationships/chart" Target="../charts/chart37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 Id="rId7" Type="http://schemas.openxmlformats.org/officeDocument/2006/relationships/chart" Target="../charts/chart376.xml"/><Relationship Id="rId8" Type="http://schemas.openxmlformats.org/officeDocument/2006/relationships/chart" Target="../charts/chart377.xml"/><Relationship Id="rId9" Type="http://schemas.openxmlformats.org/officeDocument/2006/relationships/chart" Target="../charts/chart378.xml"/><Relationship Id="rId10" Type="http://schemas.openxmlformats.org/officeDocument/2006/relationships/chart" Target="../charts/chart379.xml"/><Relationship Id="rId11" Type="http://schemas.openxmlformats.org/officeDocument/2006/relationships/chart" Target="../charts/chart380.xml"/><Relationship Id="rId12" Type="http://schemas.openxmlformats.org/officeDocument/2006/relationships/chart" Target="../charts/chart381.xml"/><Relationship Id="rId13" Type="http://schemas.openxmlformats.org/officeDocument/2006/relationships/chart" Target="../charts/chart382.xml"/><Relationship Id="rId14" Type="http://schemas.openxmlformats.org/officeDocument/2006/relationships/chart" Target="../charts/chart383.xml"/><Relationship Id="rId15" Type="http://schemas.openxmlformats.org/officeDocument/2006/relationships/chart" Target="../charts/chart384.xml"/><Relationship Id="rId16" Type="http://schemas.openxmlformats.org/officeDocument/2006/relationships/chart" Target="../charts/chart38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6.xml"/><Relationship Id="rId7" Type="http://schemas.openxmlformats.org/officeDocument/2006/relationships/chart" Target="../charts/chart387.xml"/><Relationship Id="rId8" Type="http://schemas.openxmlformats.org/officeDocument/2006/relationships/chart" Target="../charts/chart388.xml"/><Relationship Id="rId9" Type="http://schemas.openxmlformats.org/officeDocument/2006/relationships/chart" Target="../charts/chart389.xml"/><Relationship Id="rId10" Type="http://schemas.openxmlformats.org/officeDocument/2006/relationships/chart" Target="../charts/chart390.xml"/><Relationship Id="rId11" Type="http://schemas.openxmlformats.org/officeDocument/2006/relationships/chart" Target="../charts/chart391.xml"/><Relationship Id="rId12" Type="http://schemas.openxmlformats.org/officeDocument/2006/relationships/chart" Target="../charts/chart392.xml"/><Relationship Id="rId13" Type="http://schemas.openxmlformats.org/officeDocument/2006/relationships/chart" Target="../charts/chart393.xml"/><Relationship Id="rId14" Type="http://schemas.openxmlformats.org/officeDocument/2006/relationships/chart" Target="../charts/chart394.xml"/><Relationship Id="rId15" Type="http://schemas.openxmlformats.org/officeDocument/2006/relationships/chart" Target="../charts/chart395.xml"/><Relationship Id="rId16" Type="http://schemas.openxmlformats.org/officeDocument/2006/relationships/chart" Target="../charts/chart39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8.xml"/><Relationship Id="rId7" Type="http://schemas.openxmlformats.org/officeDocument/2006/relationships/chart" Target="../charts/chart409.xml"/><Relationship Id="rId8" Type="http://schemas.openxmlformats.org/officeDocument/2006/relationships/chart" Target="../charts/chart410.xml"/><Relationship Id="rId9" Type="http://schemas.openxmlformats.org/officeDocument/2006/relationships/chart" Target="../charts/chart411.xml"/><Relationship Id="rId10" Type="http://schemas.openxmlformats.org/officeDocument/2006/relationships/chart" Target="../charts/chart412.xml"/><Relationship Id="rId11" Type="http://schemas.openxmlformats.org/officeDocument/2006/relationships/chart" Target="../charts/chart413.xml"/><Relationship Id="rId12" Type="http://schemas.openxmlformats.org/officeDocument/2006/relationships/chart" Target="../charts/chart414.xml"/><Relationship Id="rId13" Type="http://schemas.openxmlformats.org/officeDocument/2006/relationships/chart" Target="../charts/chart415.xml"/><Relationship Id="rId14" Type="http://schemas.openxmlformats.org/officeDocument/2006/relationships/chart" Target="../charts/chart416.xml"/><Relationship Id="rId15" Type="http://schemas.openxmlformats.org/officeDocument/2006/relationships/chart" Target="../charts/chart417.xml"/><Relationship Id="rId16" Type="http://schemas.openxmlformats.org/officeDocument/2006/relationships/chart" Target="../charts/chart41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xml"/><Relationship Id="rId7" Type="http://schemas.openxmlformats.org/officeDocument/2006/relationships/chart" Target="../charts/chart420.xml"/><Relationship Id="rId8" Type="http://schemas.openxmlformats.org/officeDocument/2006/relationships/chart" Target="../charts/chart421.xml"/><Relationship Id="rId9" Type="http://schemas.openxmlformats.org/officeDocument/2006/relationships/chart" Target="../charts/chart422.xml"/><Relationship Id="rId10" Type="http://schemas.openxmlformats.org/officeDocument/2006/relationships/chart" Target="../charts/chart423.xml"/><Relationship Id="rId11" Type="http://schemas.openxmlformats.org/officeDocument/2006/relationships/chart" Target="../charts/chart424.xml"/><Relationship Id="rId12" Type="http://schemas.openxmlformats.org/officeDocument/2006/relationships/chart" Target="../charts/chart425.xml"/><Relationship Id="rId13" Type="http://schemas.openxmlformats.org/officeDocument/2006/relationships/chart" Target="../charts/chart426.xml"/><Relationship Id="rId14" Type="http://schemas.openxmlformats.org/officeDocument/2006/relationships/chart" Target="../charts/chart427.xml"/><Relationship Id="rId15" Type="http://schemas.openxmlformats.org/officeDocument/2006/relationships/chart" Target="../charts/chart428.xml"/><Relationship Id="rId16" Type="http://schemas.openxmlformats.org/officeDocument/2006/relationships/chart" Target="../charts/chart42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0.xml"/><Relationship Id="rId7" Type="http://schemas.openxmlformats.org/officeDocument/2006/relationships/chart" Target="../charts/chart431.xml"/><Relationship Id="rId8" Type="http://schemas.openxmlformats.org/officeDocument/2006/relationships/chart" Target="../charts/chart432.xml"/><Relationship Id="rId9" Type="http://schemas.openxmlformats.org/officeDocument/2006/relationships/chart" Target="../charts/chart433.xml"/><Relationship Id="rId10" Type="http://schemas.openxmlformats.org/officeDocument/2006/relationships/chart" Target="../charts/chart434.xml"/><Relationship Id="rId11" Type="http://schemas.openxmlformats.org/officeDocument/2006/relationships/chart" Target="../charts/chart435.xml"/><Relationship Id="rId12" Type="http://schemas.openxmlformats.org/officeDocument/2006/relationships/chart" Target="../charts/chart436.xml"/><Relationship Id="rId13" Type="http://schemas.openxmlformats.org/officeDocument/2006/relationships/chart" Target="../charts/chart437.xml"/><Relationship Id="rId14" Type="http://schemas.openxmlformats.org/officeDocument/2006/relationships/chart" Target="../charts/chart438.xml"/><Relationship Id="rId15" Type="http://schemas.openxmlformats.org/officeDocument/2006/relationships/chart" Target="../charts/chart439.xml"/><Relationship Id="rId16" Type="http://schemas.openxmlformats.org/officeDocument/2006/relationships/chart" Target="../charts/chart4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1.xml"/><Relationship Id="rId7" Type="http://schemas.openxmlformats.org/officeDocument/2006/relationships/chart" Target="../charts/chart442.xml"/><Relationship Id="rId8" Type="http://schemas.openxmlformats.org/officeDocument/2006/relationships/chart" Target="../charts/chart443.xml"/><Relationship Id="rId9" Type="http://schemas.openxmlformats.org/officeDocument/2006/relationships/chart" Target="../charts/chart444.xml"/><Relationship Id="rId10" Type="http://schemas.openxmlformats.org/officeDocument/2006/relationships/chart" Target="../charts/chart445.xml"/><Relationship Id="rId11" Type="http://schemas.openxmlformats.org/officeDocument/2006/relationships/chart" Target="../charts/chart446.xml"/><Relationship Id="rId12" Type="http://schemas.openxmlformats.org/officeDocument/2006/relationships/chart" Target="../charts/chart447.xml"/><Relationship Id="rId13" Type="http://schemas.openxmlformats.org/officeDocument/2006/relationships/chart" Target="../charts/chart448.xml"/><Relationship Id="rId14" Type="http://schemas.openxmlformats.org/officeDocument/2006/relationships/chart" Target="../charts/chart449.xml"/><Relationship Id="rId15" Type="http://schemas.openxmlformats.org/officeDocument/2006/relationships/chart" Target="../charts/chart450.xml"/><Relationship Id="rId16" Type="http://schemas.openxmlformats.org/officeDocument/2006/relationships/chart" Target="../charts/chart45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2.xml"/><Relationship Id="rId7" Type="http://schemas.openxmlformats.org/officeDocument/2006/relationships/chart" Target="../charts/chart453.xml"/><Relationship Id="rId8" Type="http://schemas.openxmlformats.org/officeDocument/2006/relationships/chart" Target="../charts/chart454.xml"/><Relationship Id="rId9" Type="http://schemas.openxmlformats.org/officeDocument/2006/relationships/chart" Target="../charts/chart455.xml"/><Relationship Id="rId10" Type="http://schemas.openxmlformats.org/officeDocument/2006/relationships/chart" Target="../charts/chart456.xml"/><Relationship Id="rId11" Type="http://schemas.openxmlformats.org/officeDocument/2006/relationships/chart" Target="../charts/chart457.xml"/><Relationship Id="rId12" Type="http://schemas.openxmlformats.org/officeDocument/2006/relationships/chart" Target="../charts/chart458.xml"/><Relationship Id="rId13" Type="http://schemas.openxmlformats.org/officeDocument/2006/relationships/chart" Target="../charts/chart459.xml"/><Relationship Id="rId14" Type="http://schemas.openxmlformats.org/officeDocument/2006/relationships/chart" Target="../charts/chart460.xml"/><Relationship Id="rId15" Type="http://schemas.openxmlformats.org/officeDocument/2006/relationships/chart" Target="../charts/chart461.xml"/><Relationship Id="rId16" Type="http://schemas.openxmlformats.org/officeDocument/2006/relationships/chart" Target="../charts/chart46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3.xml"/><Relationship Id="rId7" Type="http://schemas.openxmlformats.org/officeDocument/2006/relationships/chart" Target="../charts/chart464.xml"/><Relationship Id="rId8" Type="http://schemas.openxmlformats.org/officeDocument/2006/relationships/chart" Target="../charts/chart465.xml"/><Relationship Id="rId9" Type="http://schemas.openxmlformats.org/officeDocument/2006/relationships/chart" Target="../charts/chart466.xml"/><Relationship Id="rId10" Type="http://schemas.openxmlformats.org/officeDocument/2006/relationships/chart" Target="../charts/chart467.xml"/><Relationship Id="rId11" Type="http://schemas.openxmlformats.org/officeDocument/2006/relationships/chart" Target="../charts/chart468.xml"/><Relationship Id="rId12" Type="http://schemas.openxmlformats.org/officeDocument/2006/relationships/chart" Target="../charts/chart469.xml"/><Relationship Id="rId13" Type="http://schemas.openxmlformats.org/officeDocument/2006/relationships/chart" Target="../charts/chart470.xml"/><Relationship Id="rId14" Type="http://schemas.openxmlformats.org/officeDocument/2006/relationships/chart" Target="../charts/chart471.xml"/><Relationship Id="rId15" Type="http://schemas.openxmlformats.org/officeDocument/2006/relationships/chart" Target="../charts/chart472.xml"/><Relationship Id="rId16" Type="http://schemas.openxmlformats.org/officeDocument/2006/relationships/chart" Target="../charts/chart47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4.xml"/><Relationship Id="rId7" Type="http://schemas.openxmlformats.org/officeDocument/2006/relationships/chart" Target="../charts/chart475.xml"/><Relationship Id="rId8" Type="http://schemas.openxmlformats.org/officeDocument/2006/relationships/chart" Target="../charts/chart476.xml"/><Relationship Id="rId9" Type="http://schemas.openxmlformats.org/officeDocument/2006/relationships/chart" Target="../charts/chart477.xml"/><Relationship Id="rId10" Type="http://schemas.openxmlformats.org/officeDocument/2006/relationships/chart" Target="../charts/chart478.xml"/><Relationship Id="rId11" Type="http://schemas.openxmlformats.org/officeDocument/2006/relationships/chart" Target="../charts/chart479.xml"/><Relationship Id="rId12" Type="http://schemas.openxmlformats.org/officeDocument/2006/relationships/chart" Target="../charts/chart480.xml"/><Relationship Id="rId13" Type="http://schemas.openxmlformats.org/officeDocument/2006/relationships/chart" Target="../charts/chart481.xml"/><Relationship Id="rId14" Type="http://schemas.openxmlformats.org/officeDocument/2006/relationships/chart" Target="../charts/chart482.xml"/><Relationship Id="rId15" Type="http://schemas.openxmlformats.org/officeDocument/2006/relationships/chart" Target="../charts/chart483.xml"/><Relationship Id="rId16" Type="http://schemas.openxmlformats.org/officeDocument/2006/relationships/chart" Target="../charts/chart48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5.xml"/><Relationship Id="rId7" Type="http://schemas.openxmlformats.org/officeDocument/2006/relationships/chart" Target="../charts/chart486.xml"/><Relationship Id="rId8" Type="http://schemas.openxmlformats.org/officeDocument/2006/relationships/chart" Target="../charts/chart487.xml"/><Relationship Id="rId9" Type="http://schemas.openxmlformats.org/officeDocument/2006/relationships/chart" Target="../charts/chart488.xml"/><Relationship Id="rId10" Type="http://schemas.openxmlformats.org/officeDocument/2006/relationships/chart" Target="../charts/chart489.xml"/><Relationship Id="rId11" Type="http://schemas.openxmlformats.org/officeDocument/2006/relationships/chart" Target="../charts/chart490.xml"/><Relationship Id="rId12" Type="http://schemas.openxmlformats.org/officeDocument/2006/relationships/chart" Target="../charts/chart491.xml"/><Relationship Id="rId13" Type="http://schemas.openxmlformats.org/officeDocument/2006/relationships/chart" Target="../charts/chart492.xml"/><Relationship Id="rId14" Type="http://schemas.openxmlformats.org/officeDocument/2006/relationships/chart" Target="../charts/chart493.xml"/><Relationship Id="rId15" Type="http://schemas.openxmlformats.org/officeDocument/2006/relationships/chart" Target="../charts/chart494.xml"/><Relationship Id="rId16" Type="http://schemas.openxmlformats.org/officeDocument/2006/relationships/chart" Target="../charts/chart49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6.xml"/><Relationship Id="rId7" Type="http://schemas.openxmlformats.org/officeDocument/2006/relationships/chart" Target="../charts/chart497.xml"/><Relationship Id="rId8" Type="http://schemas.openxmlformats.org/officeDocument/2006/relationships/chart" Target="../charts/chart498.xml"/><Relationship Id="rId9" Type="http://schemas.openxmlformats.org/officeDocument/2006/relationships/chart" Target="../charts/chart499.xml"/><Relationship Id="rId10" Type="http://schemas.openxmlformats.org/officeDocument/2006/relationships/chart" Target="../charts/chart500.xml"/><Relationship Id="rId11" Type="http://schemas.openxmlformats.org/officeDocument/2006/relationships/chart" Target="../charts/chart501.xml"/><Relationship Id="rId12" Type="http://schemas.openxmlformats.org/officeDocument/2006/relationships/chart" Target="../charts/chart502.xml"/><Relationship Id="rId13" Type="http://schemas.openxmlformats.org/officeDocument/2006/relationships/chart" Target="../charts/chart503.xml"/><Relationship Id="rId14" Type="http://schemas.openxmlformats.org/officeDocument/2006/relationships/chart" Target="../charts/chart504.xml"/><Relationship Id="rId15" Type="http://schemas.openxmlformats.org/officeDocument/2006/relationships/chart" Target="../charts/chart505.xml"/><Relationship Id="rId16" Type="http://schemas.openxmlformats.org/officeDocument/2006/relationships/chart" Target="../charts/chart50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7.xml"/><Relationship Id="rId7" Type="http://schemas.openxmlformats.org/officeDocument/2006/relationships/chart" Target="../charts/chart508.xml"/><Relationship Id="rId8" Type="http://schemas.openxmlformats.org/officeDocument/2006/relationships/chart" Target="../charts/chart509.xml"/><Relationship Id="rId9" Type="http://schemas.openxmlformats.org/officeDocument/2006/relationships/chart" Target="../charts/chart510.xml"/><Relationship Id="rId10" Type="http://schemas.openxmlformats.org/officeDocument/2006/relationships/chart" Target="../charts/chart511.xml"/><Relationship Id="rId11" Type="http://schemas.openxmlformats.org/officeDocument/2006/relationships/chart" Target="../charts/chart512.xml"/><Relationship Id="rId12" Type="http://schemas.openxmlformats.org/officeDocument/2006/relationships/chart" Target="../charts/chart513.xml"/><Relationship Id="rId13" Type="http://schemas.openxmlformats.org/officeDocument/2006/relationships/chart" Target="../charts/chart514.xml"/><Relationship Id="rId14" Type="http://schemas.openxmlformats.org/officeDocument/2006/relationships/chart" Target="../charts/chart515.xml"/><Relationship Id="rId15" Type="http://schemas.openxmlformats.org/officeDocument/2006/relationships/chart" Target="../charts/chart516.xml"/><Relationship Id="rId16" Type="http://schemas.openxmlformats.org/officeDocument/2006/relationships/chart" Target="../charts/chart51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8.xml"/><Relationship Id="rId7" Type="http://schemas.openxmlformats.org/officeDocument/2006/relationships/chart" Target="../charts/chart519.xml"/><Relationship Id="rId8" Type="http://schemas.openxmlformats.org/officeDocument/2006/relationships/chart" Target="../charts/chart520.xml"/><Relationship Id="rId9" Type="http://schemas.openxmlformats.org/officeDocument/2006/relationships/chart" Target="../charts/chart521.xml"/><Relationship Id="rId10" Type="http://schemas.openxmlformats.org/officeDocument/2006/relationships/chart" Target="../charts/chart522.xml"/><Relationship Id="rId11" Type="http://schemas.openxmlformats.org/officeDocument/2006/relationships/chart" Target="../charts/chart523.xml"/><Relationship Id="rId12" Type="http://schemas.openxmlformats.org/officeDocument/2006/relationships/chart" Target="../charts/chart524.xml"/><Relationship Id="rId13" Type="http://schemas.openxmlformats.org/officeDocument/2006/relationships/chart" Target="../charts/chart525.xml"/><Relationship Id="rId14" Type="http://schemas.openxmlformats.org/officeDocument/2006/relationships/chart" Target="../charts/chart526.xml"/><Relationship Id="rId15" Type="http://schemas.openxmlformats.org/officeDocument/2006/relationships/chart" Target="../charts/chart527.xml"/><Relationship Id="rId16" Type="http://schemas.openxmlformats.org/officeDocument/2006/relationships/chart" Target="../charts/chart52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0.xml"/><Relationship Id="rId7" Type="http://schemas.openxmlformats.org/officeDocument/2006/relationships/chart" Target="../charts/chart541.xml"/><Relationship Id="rId8" Type="http://schemas.openxmlformats.org/officeDocument/2006/relationships/chart" Target="../charts/chart542.xml"/><Relationship Id="rId9" Type="http://schemas.openxmlformats.org/officeDocument/2006/relationships/chart" Target="../charts/chart543.xml"/><Relationship Id="rId10" Type="http://schemas.openxmlformats.org/officeDocument/2006/relationships/chart" Target="../charts/chart544.xml"/><Relationship Id="rId11" Type="http://schemas.openxmlformats.org/officeDocument/2006/relationships/chart" Target="../charts/chart545.xml"/><Relationship Id="rId12" Type="http://schemas.openxmlformats.org/officeDocument/2006/relationships/chart" Target="../charts/chart546.xml"/><Relationship Id="rId13" Type="http://schemas.openxmlformats.org/officeDocument/2006/relationships/chart" Target="../charts/chart547.xml"/><Relationship Id="rId14" Type="http://schemas.openxmlformats.org/officeDocument/2006/relationships/chart" Target="../charts/chart548.xml"/><Relationship Id="rId15" Type="http://schemas.openxmlformats.org/officeDocument/2006/relationships/chart" Target="../charts/chart549.xml"/><Relationship Id="rId16" Type="http://schemas.openxmlformats.org/officeDocument/2006/relationships/chart" Target="../charts/chart5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1.xml"/><Relationship Id="rId7" Type="http://schemas.openxmlformats.org/officeDocument/2006/relationships/chart" Target="../charts/chart552.xml"/><Relationship Id="rId8" Type="http://schemas.openxmlformats.org/officeDocument/2006/relationships/chart" Target="../charts/chart553.xml"/><Relationship Id="rId9" Type="http://schemas.openxmlformats.org/officeDocument/2006/relationships/chart" Target="../charts/chart554.xml"/><Relationship Id="rId10" Type="http://schemas.openxmlformats.org/officeDocument/2006/relationships/chart" Target="../charts/chart555.xml"/><Relationship Id="rId11" Type="http://schemas.openxmlformats.org/officeDocument/2006/relationships/chart" Target="../charts/chart556.xml"/><Relationship Id="rId12" Type="http://schemas.openxmlformats.org/officeDocument/2006/relationships/chart" Target="../charts/chart557.xml"/><Relationship Id="rId13" Type="http://schemas.openxmlformats.org/officeDocument/2006/relationships/chart" Target="../charts/chart558.xml"/><Relationship Id="rId14" Type="http://schemas.openxmlformats.org/officeDocument/2006/relationships/chart" Target="../charts/chart559.xml"/><Relationship Id="rId15" Type="http://schemas.openxmlformats.org/officeDocument/2006/relationships/chart" Target="../charts/chart560.xml"/><Relationship Id="rId16" Type="http://schemas.openxmlformats.org/officeDocument/2006/relationships/chart" Target="../charts/chart56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2.xml"/><Relationship Id="rId7" Type="http://schemas.openxmlformats.org/officeDocument/2006/relationships/chart" Target="../charts/chart563.xml"/><Relationship Id="rId8" Type="http://schemas.openxmlformats.org/officeDocument/2006/relationships/chart" Target="../charts/chart564.xml"/><Relationship Id="rId9" Type="http://schemas.openxmlformats.org/officeDocument/2006/relationships/chart" Target="../charts/chart565.xml"/><Relationship Id="rId10" Type="http://schemas.openxmlformats.org/officeDocument/2006/relationships/chart" Target="../charts/chart566.xml"/><Relationship Id="rId11" Type="http://schemas.openxmlformats.org/officeDocument/2006/relationships/chart" Target="../charts/chart567.xml"/><Relationship Id="rId12" Type="http://schemas.openxmlformats.org/officeDocument/2006/relationships/chart" Target="../charts/chart568.xml"/><Relationship Id="rId13" Type="http://schemas.openxmlformats.org/officeDocument/2006/relationships/chart" Target="../charts/chart569.xml"/><Relationship Id="rId14" Type="http://schemas.openxmlformats.org/officeDocument/2006/relationships/chart" Target="../charts/chart570.xml"/><Relationship Id="rId15" Type="http://schemas.openxmlformats.org/officeDocument/2006/relationships/chart" Target="../charts/chart571.xml"/><Relationship Id="rId16" Type="http://schemas.openxmlformats.org/officeDocument/2006/relationships/chart" Target="../charts/chart57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3.xml"/><Relationship Id="rId7" Type="http://schemas.openxmlformats.org/officeDocument/2006/relationships/chart" Target="../charts/chart574.xml"/><Relationship Id="rId8" Type="http://schemas.openxmlformats.org/officeDocument/2006/relationships/chart" Target="../charts/chart575.xml"/><Relationship Id="rId9" Type="http://schemas.openxmlformats.org/officeDocument/2006/relationships/chart" Target="../charts/chart576.xml"/><Relationship Id="rId10" Type="http://schemas.openxmlformats.org/officeDocument/2006/relationships/chart" Target="../charts/chart577.xml"/><Relationship Id="rId11" Type="http://schemas.openxmlformats.org/officeDocument/2006/relationships/chart" Target="../charts/chart578.xml"/><Relationship Id="rId12" Type="http://schemas.openxmlformats.org/officeDocument/2006/relationships/chart" Target="../charts/chart579.xml"/><Relationship Id="rId13" Type="http://schemas.openxmlformats.org/officeDocument/2006/relationships/chart" Target="../charts/chart580.xml"/><Relationship Id="rId14" Type="http://schemas.openxmlformats.org/officeDocument/2006/relationships/chart" Target="../charts/chart581.xml"/><Relationship Id="rId15" Type="http://schemas.openxmlformats.org/officeDocument/2006/relationships/chart" Target="../charts/chart582.xml"/><Relationship Id="rId16" Type="http://schemas.openxmlformats.org/officeDocument/2006/relationships/chart" Target="../charts/chart58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4.xml"/><Relationship Id="rId7" Type="http://schemas.openxmlformats.org/officeDocument/2006/relationships/chart" Target="../charts/chart585.xml"/><Relationship Id="rId8" Type="http://schemas.openxmlformats.org/officeDocument/2006/relationships/chart" Target="../charts/chart586.xml"/><Relationship Id="rId9" Type="http://schemas.openxmlformats.org/officeDocument/2006/relationships/chart" Target="../charts/chart587.xml"/><Relationship Id="rId10" Type="http://schemas.openxmlformats.org/officeDocument/2006/relationships/chart" Target="../charts/chart588.xml"/><Relationship Id="rId11" Type="http://schemas.openxmlformats.org/officeDocument/2006/relationships/chart" Target="../charts/chart589.xml"/><Relationship Id="rId12" Type="http://schemas.openxmlformats.org/officeDocument/2006/relationships/chart" Target="../charts/chart590.xml"/><Relationship Id="rId13" Type="http://schemas.openxmlformats.org/officeDocument/2006/relationships/chart" Target="../charts/chart591.xml"/><Relationship Id="rId14" Type="http://schemas.openxmlformats.org/officeDocument/2006/relationships/chart" Target="../charts/chart592.xml"/><Relationship Id="rId15" Type="http://schemas.openxmlformats.org/officeDocument/2006/relationships/chart" Target="../charts/chart593.xml"/><Relationship Id="rId16" Type="http://schemas.openxmlformats.org/officeDocument/2006/relationships/chart" Target="../charts/chart59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5.xml"/><Relationship Id="rId7" Type="http://schemas.openxmlformats.org/officeDocument/2006/relationships/chart" Target="../charts/chart596.xml"/><Relationship Id="rId8" Type="http://schemas.openxmlformats.org/officeDocument/2006/relationships/chart" Target="../charts/chart597.xml"/><Relationship Id="rId9" Type="http://schemas.openxmlformats.org/officeDocument/2006/relationships/chart" Target="../charts/chart598.xml"/><Relationship Id="rId10" Type="http://schemas.openxmlformats.org/officeDocument/2006/relationships/chart" Target="../charts/chart599.xml"/><Relationship Id="rId11" Type="http://schemas.openxmlformats.org/officeDocument/2006/relationships/chart" Target="../charts/chart600.xml"/><Relationship Id="rId12" Type="http://schemas.openxmlformats.org/officeDocument/2006/relationships/chart" Target="../charts/chart601.xml"/><Relationship Id="rId13" Type="http://schemas.openxmlformats.org/officeDocument/2006/relationships/chart" Target="../charts/chart602.xml"/><Relationship Id="rId14" Type="http://schemas.openxmlformats.org/officeDocument/2006/relationships/chart" Target="../charts/chart603.xml"/><Relationship Id="rId15" Type="http://schemas.openxmlformats.org/officeDocument/2006/relationships/chart" Target="../charts/chart604.xml"/><Relationship Id="rId16" Type="http://schemas.openxmlformats.org/officeDocument/2006/relationships/chart" Target="../charts/chart60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6.xml"/><Relationship Id="rId7" Type="http://schemas.openxmlformats.org/officeDocument/2006/relationships/chart" Target="../charts/chart607.xml"/><Relationship Id="rId8" Type="http://schemas.openxmlformats.org/officeDocument/2006/relationships/chart" Target="../charts/chart608.xml"/><Relationship Id="rId9" Type="http://schemas.openxmlformats.org/officeDocument/2006/relationships/chart" Target="../charts/chart609.xml"/><Relationship Id="rId10" Type="http://schemas.openxmlformats.org/officeDocument/2006/relationships/chart" Target="../charts/chart610.xml"/><Relationship Id="rId11" Type="http://schemas.openxmlformats.org/officeDocument/2006/relationships/chart" Target="../charts/chart611.xml"/><Relationship Id="rId12" Type="http://schemas.openxmlformats.org/officeDocument/2006/relationships/chart" Target="../charts/chart612.xml"/><Relationship Id="rId13" Type="http://schemas.openxmlformats.org/officeDocument/2006/relationships/chart" Target="../charts/chart613.xml"/><Relationship Id="rId14" Type="http://schemas.openxmlformats.org/officeDocument/2006/relationships/chart" Target="../charts/chart614.xml"/><Relationship Id="rId15" Type="http://schemas.openxmlformats.org/officeDocument/2006/relationships/chart" Target="../charts/chart615.xml"/><Relationship Id="rId16" Type="http://schemas.openxmlformats.org/officeDocument/2006/relationships/chart" Target="../charts/chart61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7.xml"/><Relationship Id="rId7" Type="http://schemas.openxmlformats.org/officeDocument/2006/relationships/chart" Target="../charts/chart618.xml"/><Relationship Id="rId8" Type="http://schemas.openxmlformats.org/officeDocument/2006/relationships/chart" Target="../charts/chart619.xml"/><Relationship Id="rId9" Type="http://schemas.openxmlformats.org/officeDocument/2006/relationships/chart" Target="../charts/chart620.xml"/><Relationship Id="rId10" Type="http://schemas.openxmlformats.org/officeDocument/2006/relationships/chart" Target="../charts/chart621.xml"/><Relationship Id="rId11" Type="http://schemas.openxmlformats.org/officeDocument/2006/relationships/chart" Target="../charts/chart622.xml"/><Relationship Id="rId12" Type="http://schemas.openxmlformats.org/officeDocument/2006/relationships/chart" Target="../charts/chart623.xml"/><Relationship Id="rId13" Type="http://schemas.openxmlformats.org/officeDocument/2006/relationships/chart" Target="../charts/chart624.xml"/><Relationship Id="rId14" Type="http://schemas.openxmlformats.org/officeDocument/2006/relationships/chart" Target="../charts/chart625.xml"/><Relationship Id="rId15" Type="http://schemas.openxmlformats.org/officeDocument/2006/relationships/chart" Target="../charts/chart626.xml"/><Relationship Id="rId16" Type="http://schemas.openxmlformats.org/officeDocument/2006/relationships/chart" Target="../charts/chart62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8.xml"/><Relationship Id="rId7" Type="http://schemas.openxmlformats.org/officeDocument/2006/relationships/chart" Target="../charts/chart629.xml"/><Relationship Id="rId8" Type="http://schemas.openxmlformats.org/officeDocument/2006/relationships/chart" Target="../charts/chart630.xml"/><Relationship Id="rId9" Type="http://schemas.openxmlformats.org/officeDocument/2006/relationships/chart" Target="../charts/chart631.xml"/><Relationship Id="rId10" Type="http://schemas.openxmlformats.org/officeDocument/2006/relationships/chart" Target="../charts/chart632.xml"/><Relationship Id="rId11" Type="http://schemas.openxmlformats.org/officeDocument/2006/relationships/chart" Target="../charts/chart633.xml"/><Relationship Id="rId12" Type="http://schemas.openxmlformats.org/officeDocument/2006/relationships/chart" Target="../charts/chart634.xml"/><Relationship Id="rId13" Type="http://schemas.openxmlformats.org/officeDocument/2006/relationships/chart" Target="../charts/chart635.xml"/><Relationship Id="rId14" Type="http://schemas.openxmlformats.org/officeDocument/2006/relationships/chart" Target="../charts/chart636.xml"/><Relationship Id="rId15" Type="http://schemas.openxmlformats.org/officeDocument/2006/relationships/chart" Target="../charts/chart637.xml"/><Relationship Id="rId16" Type="http://schemas.openxmlformats.org/officeDocument/2006/relationships/chart" Target="../charts/chart63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9.xml"/><Relationship Id="rId7" Type="http://schemas.openxmlformats.org/officeDocument/2006/relationships/chart" Target="../charts/chart640.xml"/><Relationship Id="rId8" Type="http://schemas.openxmlformats.org/officeDocument/2006/relationships/chart" Target="../charts/chart641.xml"/><Relationship Id="rId9" Type="http://schemas.openxmlformats.org/officeDocument/2006/relationships/chart" Target="../charts/chart642.xml"/><Relationship Id="rId10" Type="http://schemas.openxmlformats.org/officeDocument/2006/relationships/chart" Target="../charts/chart643.xml"/><Relationship Id="rId11" Type="http://schemas.openxmlformats.org/officeDocument/2006/relationships/chart" Target="../charts/chart644.xml"/><Relationship Id="rId12" Type="http://schemas.openxmlformats.org/officeDocument/2006/relationships/chart" Target="../charts/chart645.xml"/><Relationship Id="rId13" Type="http://schemas.openxmlformats.org/officeDocument/2006/relationships/chart" Target="../charts/chart646.xml"/><Relationship Id="rId14" Type="http://schemas.openxmlformats.org/officeDocument/2006/relationships/chart" Target="../charts/chart647.xml"/><Relationship Id="rId15" Type="http://schemas.openxmlformats.org/officeDocument/2006/relationships/chart" Target="../charts/chart648.xml"/><Relationship Id="rId16" Type="http://schemas.openxmlformats.org/officeDocument/2006/relationships/chart" Target="../charts/chart64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0.xml"/><Relationship Id="rId7" Type="http://schemas.openxmlformats.org/officeDocument/2006/relationships/chart" Target="../charts/chart651.xml"/><Relationship Id="rId8" Type="http://schemas.openxmlformats.org/officeDocument/2006/relationships/chart" Target="../charts/chart652.xml"/><Relationship Id="rId9" Type="http://schemas.openxmlformats.org/officeDocument/2006/relationships/chart" Target="../charts/chart653.xml"/><Relationship Id="rId10" Type="http://schemas.openxmlformats.org/officeDocument/2006/relationships/chart" Target="../charts/chart654.xml"/><Relationship Id="rId11" Type="http://schemas.openxmlformats.org/officeDocument/2006/relationships/chart" Target="../charts/chart655.xml"/><Relationship Id="rId12" Type="http://schemas.openxmlformats.org/officeDocument/2006/relationships/chart" Target="../charts/chart656.xml"/><Relationship Id="rId13" Type="http://schemas.openxmlformats.org/officeDocument/2006/relationships/chart" Target="../charts/chart657.xml"/><Relationship Id="rId14" Type="http://schemas.openxmlformats.org/officeDocument/2006/relationships/chart" Target="../charts/chart658.xml"/><Relationship Id="rId15" Type="http://schemas.openxmlformats.org/officeDocument/2006/relationships/chart" Target="../charts/chart659.xml"/><Relationship Id="rId16" Type="http://schemas.openxmlformats.org/officeDocument/2006/relationships/chart" Target="../charts/chart6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1.xml"/><Relationship Id="rId7" Type="http://schemas.openxmlformats.org/officeDocument/2006/relationships/chart" Target="../charts/chart662.xml"/><Relationship Id="rId8" Type="http://schemas.openxmlformats.org/officeDocument/2006/relationships/chart" Target="../charts/chart663.xml"/><Relationship Id="rId9" Type="http://schemas.openxmlformats.org/officeDocument/2006/relationships/chart" Target="../charts/chart664.xml"/><Relationship Id="rId10" Type="http://schemas.openxmlformats.org/officeDocument/2006/relationships/chart" Target="../charts/chart665.xml"/><Relationship Id="rId11" Type="http://schemas.openxmlformats.org/officeDocument/2006/relationships/chart" Target="../charts/chart666.xml"/><Relationship Id="rId12" Type="http://schemas.openxmlformats.org/officeDocument/2006/relationships/chart" Target="../charts/chart667.xml"/><Relationship Id="rId13" Type="http://schemas.openxmlformats.org/officeDocument/2006/relationships/chart" Target="../charts/chart668.xml"/><Relationship Id="rId14" Type="http://schemas.openxmlformats.org/officeDocument/2006/relationships/chart" Target="../charts/chart669.xml"/><Relationship Id="rId15" Type="http://schemas.openxmlformats.org/officeDocument/2006/relationships/chart" Target="../charts/chart670.xml"/><Relationship Id="rId16" Type="http://schemas.openxmlformats.org/officeDocument/2006/relationships/chart" Target="../charts/chart67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2.xml"/><Relationship Id="rId7" Type="http://schemas.openxmlformats.org/officeDocument/2006/relationships/chart" Target="../charts/chart673.xml"/><Relationship Id="rId8" Type="http://schemas.openxmlformats.org/officeDocument/2006/relationships/chart" Target="../charts/chart674.xml"/><Relationship Id="rId9" Type="http://schemas.openxmlformats.org/officeDocument/2006/relationships/chart" Target="../charts/chart675.xml"/><Relationship Id="rId10" Type="http://schemas.openxmlformats.org/officeDocument/2006/relationships/chart" Target="../charts/chart676.xml"/><Relationship Id="rId11" Type="http://schemas.openxmlformats.org/officeDocument/2006/relationships/chart" Target="../charts/chart677.xml"/><Relationship Id="rId12" Type="http://schemas.openxmlformats.org/officeDocument/2006/relationships/chart" Target="../charts/chart678.xml"/><Relationship Id="rId13" Type="http://schemas.openxmlformats.org/officeDocument/2006/relationships/chart" Target="../charts/chart679.xml"/><Relationship Id="rId14" Type="http://schemas.openxmlformats.org/officeDocument/2006/relationships/chart" Target="../charts/chart680.xml"/><Relationship Id="rId15" Type="http://schemas.openxmlformats.org/officeDocument/2006/relationships/chart" Target="../charts/chart681.xml"/><Relationship Id="rId16" Type="http://schemas.openxmlformats.org/officeDocument/2006/relationships/chart" Target="../charts/chart68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3.xml"/><Relationship Id="rId7" Type="http://schemas.openxmlformats.org/officeDocument/2006/relationships/chart" Target="../charts/chart684.xml"/><Relationship Id="rId8" Type="http://schemas.openxmlformats.org/officeDocument/2006/relationships/chart" Target="../charts/chart685.xml"/><Relationship Id="rId9" Type="http://schemas.openxmlformats.org/officeDocument/2006/relationships/chart" Target="../charts/chart686.xml"/><Relationship Id="rId10" Type="http://schemas.openxmlformats.org/officeDocument/2006/relationships/chart" Target="../charts/chart687.xml"/><Relationship Id="rId11" Type="http://schemas.openxmlformats.org/officeDocument/2006/relationships/chart" Target="../charts/chart688.xml"/><Relationship Id="rId12" Type="http://schemas.openxmlformats.org/officeDocument/2006/relationships/chart" Target="../charts/chart689.xml"/><Relationship Id="rId13" Type="http://schemas.openxmlformats.org/officeDocument/2006/relationships/chart" Target="../charts/chart690.xml"/><Relationship Id="rId14" Type="http://schemas.openxmlformats.org/officeDocument/2006/relationships/chart" Target="../charts/chart691.xml"/><Relationship Id="rId15" Type="http://schemas.openxmlformats.org/officeDocument/2006/relationships/chart" Target="../charts/chart692.xml"/><Relationship Id="rId16" Type="http://schemas.openxmlformats.org/officeDocument/2006/relationships/chart" Target="../charts/chart69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4.xml"/><Relationship Id="rId7" Type="http://schemas.openxmlformats.org/officeDocument/2006/relationships/chart" Target="../charts/chart695.xml"/><Relationship Id="rId8" Type="http://schemas.openxmlformats.org/officeDocument/2006/relationships/chart" Target="../charts/chart696.xml"/><Relationship Id="rId9" Type="http://schemas.openxmlformats.org/officeDocument/2006/relationships/chart" Target="../charts/chart697.xml"/><Relationship Id="rId10" Type="http://schemas.openxmlformats.org/officeDocument/2006/relationships/chart" Target="../charts/chart698.xml"/><Relationship Id="rId11" Type="http://schemas.openxmlformats.org/officeDocument/2006/relationships/chart" Target="../charts/chart699.xml"/><Relationship Id="rId12" Type="http://schemas.openxmlformats.org/officeDocument/2006/relationships/chart" Target="../charts/chart700.xml"/><Relationship Id="rId13" Type="http://schemas.openxmlformats.org/officeDocument/2006/relationships/chart" Target="../charts/chart701.xml"/><Relationship Id="rId14" Type="http://schemas.openxmlformats.org/officeDocument/2006/relationships/chart" Target="../charts/chart702.xml"/><Relationship Id="rId15" Type="http://schemas.openxmlformats.org/officeDocument/2006/relationships/chart" Target="../charts/chart703.xml"/><Relationship Id="rId16" Type="http://schemas.openxmlformats.org/officeDocument/2006/relationships/chart" Target="../charts/chart70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5.xml"/><Relationship Id="rId7" Type="http://schemas.openxmlformats.org/officeDocument/2006/relationships/chart" Target="../charts/chart706.xml"/><Relationship Id="rId8" Type="http://schemas.openxmlformats.org/officeDocument/2006/relationships/chart" Target="../charts/chart707.xml"/><Relationship Id="rId9" Type="http://schemas.openxmlformats.org/officeDocument/2006/relationships/chart" Target="../charts/chart708.xml"/><Relationship Id="rId10" Type="http://schemas.openxmlformats.org/officeDocument/2006/relationships/chart" Target="../charts/chart709.xml"/><Relationship Id="rId11" Type="http://schemas.openxmlformats.org/officeDocument/2006/relationships/chart" Target="../charts/chart710.xml"/><Relationship Id="rId12" Type="http://schemas.openxmlformats.org/officeDocument/2006/relationships/chart" Target="../charts/chart711.xml"/><Relationship Id="rId13" Type="http://schemas.openxmlformats.org/officeDocument/2006/relationships/chart" Target="../charts/chart712.xml"/><Relationship Id="rId14" Type="http://schemas.openxmlformats.org/officeDocument/2006/relationships/chart" Target="../charts/chart713.xml"/><Relationship Id="rId15" Type="http://schemas.openxmlformats.org/officeDocument/2006/relationships/chart" Target="../charts/chart714.xml"/><Relationship Id="rId16" Type="http://schemas.openxmlformats.org/officeDocument/2006/relationships/chart" Target="../charts/chart71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6.xml"/><Relationship Id="rId7" Type="http://schemas.openxmlformats.org/officeDocument/2006/relationships/chart" Target="../charts/chart717.xml"/><Relationship Id="rId8" Type="http://schemas.openxmlformats.org/officeDocument/2006/relationships/chart" Target="../charts/chart718.xml"/><Relationship Id="rId9" Type="http://schemas.openxmlformats.org/officeDocument/2006/relationships/chart" Target="../charts/chart719.xml"/><Relationship Id="rId10" Type="http://schemas.openxmlformats.org/officeDocument/2006/relationships/chart" Target="../charts/chart720.xml"/><Relationship Id="rId11" Type="http://schemas.openxmlformats.org/officeDocument/2006/relationships/chart" Target="../charts/chart721.xml"/><Relationship Id="rId12" Type="http://schemas.openxmlformats.org/officeDocument/2006/relationships/chart" Target="../charts/chart722.xml"/><Relationship Id="rId13" Type="http://schemas.openxmlformats.org/officeDocument/2006/relationships/chart" Target="../charts/chart723.xml"/><Relationship Id="rId14" Type="http://schemas.openxmlformats.org/officeDocument/2006/relationships/chart" Target="../charts/chart724.xml"/><Relationship Id="rId15" Type="http://schemas.openxmlformats.org/officeDocument/2006/relationships/chart" Target="../charts/chart725.xml"/><Relationship Id="rId16" Type="http://schemas.openxmlformats.org/officeDocument/2006/relationships/chart" Target="../charts/chart72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7.xml"/><Relationship Id="rId7" Type="http://schemas.openxmlformats.org/officeDocument/2006/relationships/chart" Target="../charts/chart728.xml"/><Relationship Id="rId8" Type="http://schemas.openxmlformats.org/officeDocument/2006/relationships/chart" Target="../charts/chart729.xml"/><Relationship Id="rId9" Type="http://schemas.openxmlformats.org/officeDocument/2006/relationships/chart" Target="../charts/chart730.xml"/><Relationship Id="rId10" Type="http://schemas.openxmlformats.org/officeDocument/2006/relationships/chart" Target="../charts/chart731.xml"/><Relationship Id="rId11" Type="http://schemas.openxmlformats.org/officeDocument/2006/relationships/chart" Target="../charts/chart732.xml"/><Relationship Id="rId12" Type="http://schemas.openxmlformats.org/officeDocument/2006/relationships/chart" Target="../charts/chart733.xml"/><Relationship Id="rId13" Type="http://schemas.openxmlformats.org/officeDocument/2006/relationships/chart" Target="../charts/chart734.xml"/><Relationship Id="rId14" Type="http://schemas.openxmlformats.org/officeDocument/2006/relationships/chart" Target="../charts/chart735.xml"/><Relationship Id="rId15" Type="http://schemas.openxmlformats.org/officeDocument/2006/relationships/chart" Target="../charts/chart736.xml"/><Relationship Id="rId16" Type="http://schemas.openxmlformats.org/officeDocument/2006/relationships/chart" Target="../charts/chart73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8.xml"/><Relationship Id="rId7" Type="http://schemas.openxmlformats.org/officeDocument/2006/relationships/chart" Target="../charts/chart739.xml"/><Relationship Id="rId8" Type="http://schemas.openxmlformats.org/officeDocument/2006/relationships/chart" Target="../charts/chart740.xml"/><Relationship Id="rId9" Type="http://schemas.openxmlformats.org/officeDocument/2006/relationships/chart" Target="../charts/chart741.xml"/><Relationship Id="rId10" Type="http://schemas.openxmlformats.org/officeDocument/2006/relationships/chart" Target="../charts/chart742.xml"/><Relationship Id="rId11" Type="http://schemas.openxmlformats.org/officeDocument/2006/relationships/chart" Target="../charts/chart743.xml"/><Relationship Id="rId12" Type="http://schemas.openxmlformats.org/officeDocument/2006/relationships/chart" Target="../charts/chart744.xml"/><Relationship Id="rId13" Type="http://schemas.openxmlformats.org/officeDocument/2006/relationships/chart" Target="../charts/chart745.xml"/><Relationship Id="rId14" Type="http://schemas.openxmlformats.org/officeDocument/2006/relationships/chart" Target="../charts/chart746.xml"/><Relationship Id="rId15" Type="http://schemas.openxmlformats.org/officeDocument/2006/relationships/chart" Target="../charts/chart747.xml"/><Relationship Id="rId16" Type="http://schemas.openxmlformats.org/officeDocument/2006/relationships/chart" Target="../charts/chart74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9.xml"/><Relationship Id="rId7" Type="http://schemas.openxmlformats.org/officeDocument/2006/relationships/chart" Target="../charts/chart750.xml"/><Relationship Id="rId8" Type="http://schemas.openxmlformats.org/officeDocument/2006/relationships/chart" Target="../charts/chart751.xml"/><Relationship Id="rId9" Type="http://schemas.openxmlformats.org/officeDocument/2006/relationships/chart" Target="../charts/chart752.xml"/><Relationship Id="rId10" Type="http://schemas.openxmlformats.org/officeDocument/2006/relationships/chart" Target="../charts/chart753.xml"/><Relationship Id="rId11" Type="http://schemas.openxmlformats.org/officeDocument/2006/relationships/chart" Target="../charts/chart754.xml"/><Relationship Id="rId12" Type="http://schemas.openxmlformats.org/officeDocument/2006/relationships/chart" Target="../charts/chart755.xml"/><Relationship Id="rId13" Type="http://schemas.openxmlformats.org/officeDocument/2006/relationships/chart" Target="../charts/chart756.xml"/><Relationship Id="rId14" Type="http://schemas.openxmlformats.org/officeDocument/2006/relationships/chart" Target="../charts/chart757.xml"/><Relationship Id="rId15" Type="http://schemas.openxmlformats.org/officeDocument/2006/relationships/chart" Target="../charts/chart758.xml"/><Relationship Id="rId16" Type="http://schemas.openxmlformats.org/officeDocument/2006/relationships/chart" Target="../charts/chart75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0.xml"/><Relationship Id="rId7" Type="http://schemas.openxmlformats.org/officeDocument/2006/relationships/chart" Target="../charts/chart761.xml"/><Relationship Id="rId8" Type="http://schemas.openxmlformats.org/officeDocument/2006/relationships/chart" Target="../charts/chart762.xml"/><Relationship Id="rId9" Type="http://schemas.openxmlformats.org/officeDocument/2006/relationships/chart" Target="../charts/chart763.xml"/><Relationship Id="rId10" Type="http://schemas.openxmlformats.org/officeDocument/2006/relationships/chart" Target="../charts/chart764.xml"/><Relationship Id="rId11" Type="http://schemas.openxmlformats.org/officeDocument/2006/relationships/chart" Target="../charts/chart765.xml"/><Relationship Id="rId12" Type="http://schemas.openxmlformats.org/officeDocument/2006/relationships/chart" Target="../charts/chart766.xml"/><Relationship Id="rId13" Type="http://schemas.openxmlformats.org/officeDocument/2006/relationships/chart" Target="../charts/chart767.xml"/><Relationship Id="rId14" Type="http://schemas.openxmlformats.org/officeDocument/2006/relationships/chart" Target="../charts/chart768.xml"/><Relationship Id="rId15" Type="http://schemas.openxmlformats.org/officeDocument/2006/relationships/chart" Target="../charts/chart769.xml"/><Relationship Id="rId16" Type="http://schemas.openxmlformats.org/officeDocument/2006/relationships/chart" Target="../charts/chart7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1.xml"/><Relationship Id="rId7" Type="http://schemas.openxmlformats.org/officeDocument/2006/relationships/chart" Target="../charts/chart772.xml"/><Relationship Id="rId8" Type="http://schemas.openxmlformats.org/officeDocument/2006/relationships/chart" Target="../charts/chart773.xml"/><Relationship Id="rId9" Type="http://schemas.openxmlformats.org/officeDocument/2006/relationships/chart" Target="../charts/chart774.xml"/><Relationship Id="rId10" Type="http://schemas.openxmlformats.org/officeDocument/2006/relationships/chart" Target="../charts/chart775.xml"/><Relationship Id="rId11" Type="http://schemas.openxmlformats.org/officeDocument/2006/relationships/chart" Target="../charts/chart776.xml"/><Relationship Id="rId12" Type="http://schemas.openxmlformats.org/officeDocument/2006/relationships/chart" Target="../charts/chart777.xml"/><Relationship Id="rId13" Type="http://schemas.openxmlformats.org/officeDocument/2006/relationships/chart" Target="../charts/chart778.xml"/><Relationship Id="rId14" Type="http://schemas.openxmlformats.org/officeDocument/2006/relationships/chart" Target="../charts/chart779.xml"/><Relationship Id="rId15" Type="http://schemas.openxmlformats.org/officeDocument/2006/relationships/chart" Target="../charts/chart780.xml"/><Relationship Id="rId16" Type="http://schemas.openxmlformats.org/officeDocument/2006/relationships/chart" Target="../charts/chart78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2.xml"/><Relationship Id="rId7" Type="http://schemas.openxmlformats.org/officeDocument/2006/relationships/chart" Target="../charts/chart783.xml"/><Relationship Id="rId8" Type="http://schemas.openxmlformats.org/officeDocument/2006/relationships/chart" Target="../charts/chart784.xml"/><Relationship Id="rId9" Type="http://schemas.openxmlformats.org/officeDocument/2006/relationships/chart" Target="../charts/chart785.xml"/><Relationship Id="rId10" Type="http://schemas.openxmlformats.org/officeDocument/2006/relationships/chart" Target="../charts/chart786.xml"/><Relationship Id="rId11" Type="http://schemas.openxmlformats.org/officeDocument/2006/relationships/chart" Target="../charts/chart787.xml"/><Relationship Id="rId12" Type="http://schemas.openxmlformats.org/officeDocument/2006/relationships/chart" Target="../charts/chart788.xml"/><Relationship Id="rId13" Type="http://schemas.openxmlformats.org/officeDocument/2006/relationships/chart" Target="../charts/chart789.xml"/><Relationship Id="rId14" Type="http://schemas.openxmlformats.org/officeDocument/2006/relationships/chart" Target="../charts/chart790.xml"/><Relationship Id="rId15" Type="http://schemas.openxmlformats.org/officeDocument/2006/relationships/chart" Target="../charts/chart791.xml"/><Relationship Id="rId16" Type="http://schemas.openxmlformats.org/officeDocument/2006/relationships/chart" Target="../charts/chart792.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8653349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556929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541240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89605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1751427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2433348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6264977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618886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06429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93669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359030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4671406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718429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4817111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1113926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3960036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5516135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9077649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082527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872433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5054700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3269615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6965703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481407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308629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6724814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70434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4270331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0090074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4018609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0321040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114238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257601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4289892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8579000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599386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0948340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0284326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7200779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8301976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693265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1842396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8322619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725294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74710584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970813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1199520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1870893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9923273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0861692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6246683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9607428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4801051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4796517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145035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7651876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296069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1767970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637885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5577354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2186652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6786776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3315289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9403900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7874716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1265534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314622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7832256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92724685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897894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8872799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5"/>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9003">
                <a:tc>
                  <a:txBody>
                    <a:bodyPr/>
                    <a:lstStyle/>
                    <a:p>
                      <a:pPr algn="ctr">
                        <a:defRPr sz="7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29003">
                <a:tc>
                  <a:txBody>
                    <a:bodyPr/>
                    <a:lstStyle/>
                    <a:p>
                      <a:pPr algn="ctr">
                        <a:defRPr sz="7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29003">
                <a:tc>
                  <a:txBody>
                    <a:bodyPr/>
                    <a:lstStyle/>
                    <a:p>
                      <a:pPr algn="ctr">
                        <a:defRPr sz="7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29003">
                <a:tc>
                  <a:txBody>
                    <a:bodyPr/>
                    <a:lstStyle/>
                    <a:p>
                      <a:pPr algn="ctr">
                        <a:defRPr sz="7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29003">
                <a:tc>
                  <a:txBody>
                    <a:bodyPr/>
                    <a:lstStyle/>
                    <a:p>
                      <a:pPr algn="ctr">
                        <a:defRPr sz="7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29003">
                <a:tc>
                  <a:txBody>
                    <a:bodyPr/>
                    <a:lstStyle/>
                    <a:p>
                      <a:pPr algn="ctr">
                        <a:defRPr sz="7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29003">
                <a:tc>
                  <a:txBody>
                    <a:bodyPr/>
                    <a:lstStyle/>
                    <a:p>
                      <a:pPr algn="ctr">
                        <a:defRPr sz="7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29003">
                <a:tc>
                  <a:txBody>
                    <a:bodyPr/>
                    <a:lstStyle/>
                    <a:p>
                      <a:pPr algn="ctr">
                        <a:defRPr sz="7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29003">
                <a:tc>
                  <a:txBody>
                    <a:bodyPr/>
                    <a:lstStyle/>
                    <a:p>
                      <a:pPr algn="ctr">
                        <a:defRPr sz="7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008580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9576</Words>
  <Application>Microsoft Office PowerPoint</Application>
  <PresentationFormat>On-screen Show (16:9)</PresentationFormat>
  <Paragraphs>2808</Paragraphs>
  <Slides>72</Slides>
  <Notes>7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83"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76</cp:revision>
  <dcterms:created xsi:type="dcterms:W3CDTF">2024-07-05T11:30:58Z</dcterms:created>
  <dcterms:modified xsi:type="dcterms:W3CDTF">2025-08-28T11:2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